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96" r:id="rId5"/>
    <p:sldId id="307" r:id="rId6"/>
    <p:sldId id="303" r:id="rId7"/>
    <p:sldId id="304" r:id="rId8"/>
    <p:sldId id="308" r:id="rId9"/>
    <p:sldId id="309" r:id="rId10"/>
    <p:sldId id="297" r:id="rId11"/>
    <p:sldId id="305" r:id="rId12"/>
    <p:sldId id="312" r:id="rId13"/>
    <p:sldId id="313" r:id="rId14"/>
    <p:sldId id="314" r:id="rId15"/>
    <p:sldId id="315" r:id="rId16"/>
    <p:sldId id="311" r:id="rId17"/>
    <p:sldId id="298" r:id="rId18"/>
    <p:sldId id="310" r:id="rId19"/>
    <p:sldId id="316" r:id="rId20"/>
    <p:sldId id="317"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E848211-D300-4031-ADA5-45070AEDB9C9}">
          <p14:sldIdLst>
            <p14:sldId id="296"/>
          </p14:sldIdLst>
        </p14:section>
        <p14:section name="Part 1." id="{2E0EB9BD-A4DD-40F5-80CC-D167972D42EE}">
          <p14:sldIdLst>
            <p14:sldId id="307"/>
            <p14:sldId id="303"/>
          </p14:sldIdLst>
        </p14:section>
        <p14:section name="Part 2." id="{89FFA45C-0C0B-4DEF-929A-1AE5E7DF9AE8}">
          <p14:sldIdLst>
            <p14:sldId id="304"/>
            <p14:sldId id="308"/>
            <p14:sldId id="309"/>
          </p14:sldIdLst>
        </p14:section>
        <p14:section name="Part 3." id="{3696AD4B-BF96-4347-BA01-F2B59B028B39}">
          <p14:sldIdLst>
            <p14:sldId id="297"/>
            <p14:sldId id="305"/>
            <p14:sldId id="312"/>
            <p14:sldId id="313"/>
            <p14:sldId id="314"/>
            <p14:sldId id="315"/>
            <p14:sldId id="311"/>
          </p14:sldIdLst>
        </p14:section>
        <p14:section name="Part 4." id="{E9A26255-868B-49D0-AF2F-983622C76897}">
          <p14:sldIdLst>
            <p14:sldId id="298"/>
          </p14:sldIdLst>
        </p14:section>
        <p14:section name="Part 5." id="{1253CF1F-F404-4231-8C5D-09DF14D78BCD}">
          <p14:sldIdLst>
            <p14:sldId id="310"/>
            <p14:sldId id="316"/>
            <p14:sldId id="317"/>
          </p14:sldIdLst>
        </p14:section>
      </p14:sectionLst>
    </p:ext>
    <p:ext uri="{EFAFB233-063F-42B5-8137-9DF3F51BA10A}">
      <p15:sldGuideLst xmlns:p15="http://schemas.microsoft.com/office/powerpoint/2012/main">
        <p15:guide id="1" orient="horz" pos="2115"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8C3D96-AA42-7956-4E6B-FD4E9D5C471E}" name="Pauline Smout" initials="PS" userId="S::pauline.smout@newforesight.com::3153cd80-1eee-4546-abae-f15e9d00b72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F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7B9B00-4707-4AC8-9FDE-BA0EA9194C65}" v="164" dt="2023-03-03T16:27:06.1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71" d="100"/>
          <a:sy n="71" d="100"/>
        </p:scale>
        <p:origin x="1032" y="62"/>
      </p:cViewPr>
      <p:guideLst>
        <p:guide orient="horz" pos="2115"/>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ine Smout" userId="3153cd80-1eee-4546-abae-f15e9d00b721" providerId="ADAL" clId="{F85F2783-3C7F-48FE-8874-7B6EACA9ED58}"/>
    <pc:docChg chg="undo custSel addSld delSld modSld sldOrd addSection modSection">
      <pc:chgData name="Pauline Smout" userId="3153cd80-1eee-4546-abae-f15e9d00b721" providerId="ADAL" clId="{F85F2783-3C7F-48FE-8874-7B6EACA9ED58}" dt="2022-12-05T08:30:54.768" v="975" actId="20577"/>
      <pc:docMkLst>
        <pc:docMk/>
      </pc:docMkLst>
      <pc:sldChg chg="add del">
        <pc:chgData name="Pauline Smout" userId="3153cd80-1eee-4546-abae-f15e9d00b721" providerId="ADAL" clId="{F85F2783-3C7F-48FE-8874-7B6EACA9ED58}" dt="2022-12-02T16:25:02.112" v="4" actId="47"/>
        <pc:sldMkLst>
          <pc:docMk/>
          <pc:sldMk cId="250459846" sldId="284"/>
        </pc:sldMkLst>
      </pc:sldChg>
      <pc:sldChg chg="addSp delSp modSp new del mod">
        <pc:chgData name="Pauline Smout" userId="3153cd80-1eee-4546-abae-f15e9d00b721" providerId="ADAL" clId="{F85F2783-3C7F-48FE-8874-7B6EACA9ED58}" dt="2022-12-02T16:31:12.394" v="399" actId="47"/>
        <pc:sldMkLst>
          <pc:docMk/>
          <pc:sldMk cId="2664821674" sldId="285"/>
        </pc:sldMkLst>
        <pc:spChg chg="mod">
          <ac:chgData name="Pauline Smout" userId="3153cd80-1eee-4546-abae-f15e9d00b721" providerId="ADAL" clId="{F85F2783-3C7F-48FE-8874-7B6EACA9ED58}" dt="2022-12-02T16:27:02.691" v="112" actId="20577"/>
          <ac:spMkLst>
            <pc:docMk/>
            <pc:sldMk cId="2664821674" sldId="285"/>
            <ac:spMk id="2" creationId="{A3B11E4B-99A0-871F-62BF-75EA89C8793C}"/>
          </ac:spMkLst>
        </pc:spChg>
        <pc:spChg chg="mod">
          <ac:chgData name="Pauline Smout" userId="3153cd80-1eee-4546-abae-f15e9d00b721" providerId="ADAL" clId="{F85F2783-3C7F-48FE-8874-7B6EACA9ED58}" dt="2022-12-02T16:27:20.653" v="171" actId="20577"/>
          <ac:spMkLst>
            <pc:docMk/>
            <pc:sldMk cId="2664821674" sldId="285"/>
            <ac:spMk id="3" creationId="{B203D49C-EA1D-F2CC-A25A-0CDBEE0D0BC9}"/>
          </ac:spMkLst>
        </pc:spChg>
        <pc:spChg chg="mod">
          <ac:chgData name="Pauline Smout" userId="3153cd80-1eee-4546-abae-f15e9d00b721" providerId="ADAL" clId="{F85F2783-3C7F-48FE-8874-7B6EACA9ED58}" dt="2022-12-02T16:27:14.216" v="142" actId="20577"/>
          <ac:spMkLst>
            <pc:docMk/>
            <pc:sldMk cId="2664821674" sldId="285"/>
            <ac:spMk id="4" creationId="{8C61460C-4412-0711-A822-9023F013E889}"/>
          </ac:spMkLst>
        </pc:spChg>
        <pc:spChg chg="mod">
          <ac:chgData name="Pauline Smout" userId="3153cd80-1eee-4546-abae-f15e9d00b721" providerId="ADAL" clId="{F85F2783-3C7F-48FE-8874-7B6EACA9ED58}" dt="2022-12-02T16:27:26.804" v="203" actId="20577"/>
          <ac:spMkLst>
            <pc:docMk/>
            <pc:sldMk cId="2664821674" sldId="285"/>
            <ac:spMk id="5" creationId="{77A03B47-A82B-FE43-A780-9A9111EE197B}"/>
          </ac:spMkLst>
        </pc:spChg>
        <pc:spChg chg="mod">
          <ac:chgData name="Pauline Smout" userId="3153cd80-1eee-4546-abae-f15e9d00b721" providerId="ADAL" clId="{F85F2783-3C7F-48FE-8874-7B6EACA9ED58}" dt="2022-12-02T16:25:19.065" v="30" actId="20577"/>
          <ac:spMkLst>
            <pc:docMk/>
            <pc:sldMk cId="2664821674" sldId="285"/>
            <ac:spMk id="6" creationId="{D485FB88-D0BF-DFE0-3559-C8BE562008FC}"/>
          </ac:spMkLst>
        </pc:spChg>
        <pc:spChg chg="add del mod">
          <ac:chgData name="Pauline Smout" userId="3153cd80-1eee-4546-abae-f15e9d00b721" providerId="ADAL" clId="{F85F2783-3C7F-48FE-8874-7B6EACA9ED58}" dt="2022-12-02T16:29:04.322" v="303" actId="478"/>
          <ac:spMkLst>
            <pc:docMk/>
            <pc:sldMk cId="2664821674" sldId="285"/>
            <ac:spMk id="7" creationId="{D62B5083-5F29-2558-2B5A-B695F2F0B6E4}"/>
          </ac:spMkLst>
        </pc:spChg>
      </pc:sldChg>
      <pc:sldChg chg="addSp delSp modSp new mod ord">
        <pc:chgData name="Pauline Smout" userId="3153cd80-1eee-4546-abae-f15e9d00b721" providerId="ADAL" clId="{F85F2783-3C7F-48FE-8874-7B6EACA9ED58}" dt="2022-12-05T08:30:54.768" v="975" actId="20577"/>
        <pc:sldMkLst>
          <pc:docMk/>
          <pc:sldMk cId="997040506" sldId="286"/>
        </pc:sldMkLst>
        <pc:spChg chg="mod">
          <ac:chgData name="Pauline Smout" userId="3153cd80-1eee-4546-abae-f15e9d00b721" providerId="ADAL" clId="{F85F2783-3C7F-48FE-8874-7B6EACA9ED58}" dt="2022-12-05T08:18:48.635" v="967" actId="20577"/>
          <ac:spMkLst>
            <pc:docMk/>
            <pc:sldMk cId="997040506" sldId="286"/>
            <ac:spMk id="2" creationId="{4C55C6BD-4914-E229-6FD2-428E6C8EDB79}"/>
          </ac:spMkLst>
        </pc:spChg>
        <pc:spChg chg="del mod">
          <ac:chgData name="Pauline Smout" userId="3153cd80-1eee-4546-abae-f15e9d00b721" providerId="ADAL" clId="{F85F2783-3C7F-48FE-8874-7B6EACA9ED58}" dt="2022-12-02T16:28:55.894" v="298" actId="21"/>
          <ac:spMkLst>
            <pc:docMk/>
            <pc:sldMk cId="997040506" sldId="286"/>
            <ac:spMk id="3" creationId="{BD6FEAF8-A28F-F6A7-2E40-A0B5251634C6}"/>
          </ac:spMkLst>
        </pc:spChg>
        <pc:spChg chg="add mod">
          <ac:chgData name="Pauline Smout" userId="3153cd80-1eee-4546-abae-f15e9d00b721" providerId="ADAL" clId="{F85F2783-3C7F-48FE-8874-7B6EACA9ED58}" dt="2022-12-05T08:30:54.768" v="975" actId="20577"/>
          <ac:spMkLst>
            <pc:docMk/>
            <pc:sldMk cId="997040506" sldId="286"/>
            <ac:spMk id="3" creationId="{C80C1250-E5B6-CE6D-0CF0-0E1831C68261}"/>
          </ac:spMkLst>
        </pc:spChg>
        <pc:spChg chg="add mod">
          <ac:chgData name="Pauline Smout" userId="3153cd80-1eee-4546-abae-f15e9d00b721" providerId="ADAL" clId="{F85F2783-3C7F-48FE-8874-7B6EACA9ED58}" dt="2022-12-02T16:30:42.423" v="396" actId="1076"/>
          <ac:spMkLst>
            <pc:docMk/>
            <pc:sldMk cId="997040506" sldId="286"/>
            <ac:spMk id="5" creationId="{AC9C76C8-1740-01DC-AAF9-F902D51C3C77}"/>
          </ac:spMkLst>
        </pc:spChg>
        <pc:spChg chg="add mod">
          <ac:chgData name="Pauline Smout" userId="3153cd80-1eee-4546-abae-f15e9d00b721" providerId="ADAL" clId="{F85F2783-3C7F-48FE-8874-7B6EACA9ED58}" dt="2022-12-02T16:31:00.986" v="397" actId="2711"/>
          <ac:spMkLst>
            <pc:docMk/>
            <pc:sldMk cId="997040506" sldId="286"/>
            <ac:spMk id="6" creationId="{6940D0EB-516A-8D98-A38E-A1C72E73CA98}"/>
          </ac:spMkLst>
        </pc:spChg>
        <pc:spChg chg="add mod">
          <ac:chgData name="Pauline Smout" userId="3153cd80-1eee-4546-abae-f15e9d00b721" providerId="ADAL" clId="{F85F2783-3C7F-48FE-8874-7B6EACA9ED58}" dt="2022-12-02T16:30:36.182" v="395" actId="1076"/>
          <ac:spMkLst>
            <pc:docMk/>
            <pc:sldMk cId="997040506" sldId="286"/>
            <ac:spMk id="7" creationId="{D3BCE1C7-185F-CA8C-4DCE-5554771EB373}"/>
          </ac:spMkLst>
        </pc:spChg>
        <pc:spChg chg="add mod">
          <ac:chgData name="Pauline Smout" userId="3153cd80-1eee-4546-abae-f15e9d00b721" providerId="ADAL" clId="{F85F2783-3C7F-48FE-8874-7B6EACA9ED58}" dt="2022-12-02T16:31:08.427" v="398" actId="2711"/>
          <ac:spMkLst>
            <pc:docMk/>
            <pc:sldMk cId="997040506" sldId="286"/>
            <ac:spMk id="8" creationId="{166777B2-4EB4-59B7-08C8-9920EBA5BA6C}"/>
          </ac:spMkLst>
        </pc:spChg>
        <pc:spChg chg="add mod">
          <ac:chgData name="Pauline Smout" userId="3153cd80-1eee-4546-abae-f15e9d00b721" providerId="ADAL" clId="{F85F2783-3C7F-48FE-8874-7B6EACA9ED58}" dt="2022-12-02T16:30:36.182" v="395" actId="1076"/>
          <ac:spMkLst>
            <pc:docMk/>
            <pc:sldMk cId="997040506" sldId="286"/>
            <ac:spMk id="9" creationId="{8EC6A9A0-F9B2-BD68-C9EA-1C7F63B93DAE}"/>
          </ac:spMkLst>
        </pc:spChg>
      </pc:sldChg>
      <pc:sldChg chg="new del">
        <pc:chgData name="Pauline Smout" userId="3153cd80-1eee-4546-abae-f15e9d00b721" providerId="ADAL" clId="{F85F2783-3C7F-48FE-8874-7B6EACA9ED58}" dt="2022-12-02T16:26:06.724" v="34" actId="47"/>
        <pc:sldMkLst>
          <pc:docMk/>
          <pc:sldMk cId="1965627716" sldId="286"/>
        </pc:sldMkLst>
      </pc:sldChg>
      <pc:sldChg chg="addSp modSp new mod ord">
        <pc:chgData name="Pauline Smout" userId="3153cd80-1eee-4546-abae-f15e9d00b721" providerId="ADAL" clId="{F85F2783-3C7F-48FE-8874-7B6EACA9ED58}" dt="2022-12-02T16:38:10.354" v="673" actId="20577"/>
        <pc:sldMkLst>
          <pc:docMk/>
          <pc:sldMk cId="2328836022" sldId="287"/>
        </pc:sldMkLst>
        <pc:spChg chg="mod">
          <ac:chgData name="Pauline Smout" userId="3153cd80-1eee-4546-abae-f15e9d00b721" providerId="ADAL" clId="{F85F2783-3C7F-48FE-8874-7B6EACA9ED58}" dt="2022-12-02T16:35:01.360" v="523" actId="20577"/>
          <ac:spMkLst>
            <pc:docMk/>
            <pc:sldMk cId="2328836022" sldId="287"/>
            <ac:spMk id="2" creationId="{2C364417-4230-30CF-801C-C437F409F04E}"/>
          </ac:spMkLst>
        </pc:spChg>
        <pc:spChg chg="mod">
          <ac:chgData name="Pauline Smout" userId="3153cd80-1eee-4546-abae-f15e9d00b721" providerId="ADAL" clId="{F85F2783-3C7F-48FE-8874-7B6EACA9ED58}" dt="2022-12-02T16:31:32.033" v="485" actId="20577"/>
          <ac:spMkLst>
            <pc:docMk/>
            <pc:sldMk cId="2328836022" sldId="287"/>
            <ac:spMk id="3" creationId="{095B6F35-C464-CB1A-98D8-84BA1D1241EB}"/>
          </ac:spMkLst>
        </pc:spChg>
        <pc:spChg chg="add mod">
          <ac:chgData name="Pauline Smout" userId="3153cd80-1eee-4546-abae-f15e9d00b721" providerId="ADAL" clId="{F85F2783-3C7F-48FE-8874-7B6EACA9ED58}" dt="2022-12-02T16:38:10.354" v="673" actId="20577"/>
          <ac:spMkLst>
            <pc:docMk/>
            <pc:sldMk cId="2328836022" sldId="287"/>
            <ac:spMk id="4" creationId="{87846390-15BC-6815-BE70-5DF83A2CAA52}"/>
          </ac:spMkLst>
        </pc:spChg>
      </pc:sldChg>
      <pc:sldChg chg="new del">
        <pc:chgData name="Pauline Smout" userId="3153cd80-1eee-4546-abae-f15e9d00b721" providerId="ADAL" clId="{F85F2783-3C7F-48FE-8874-7B6EACA9ED58}" dt="2022-12-02T16:26:06.324" v="33" actId="47"/>
        <pc:sldMkLst>
          <pc:docMk/>
          <pc:sldMk cId="3287165720" sldId="287"/>
        </pc:sldMkLst>
      </pc:sldChg>
      <pc:sldChg chg="modSp add mod ord">
        <pc:chgData name="Pauline Smout" userId="3153cd80-1eee-4546-abae-f15e9d00b721" providerId="ADAL" clId="{F85F2783-3C7F-48FE-8874-7B6EACA9ED58}" dt="2022-12-02T16:39:57.816" v="785" actId="20577"/>
        <pc:sldMkLst>
          <pc:docMk/>
          <pc:sldMk cId="3215320470" sldId="288"/>
        </pc:sldMkLst>
        <pc:spChg chg="mod">
          <ac:chgData name="Pauline Smout" userId="3153cd80-1eee-4546-abae-f15e9d00b721" providerId="ADAL" clId="{F85F2783-3C7F-48FE-8874-7B6EACA9ED58}" dt="2022-12-02T16:39:42.606" v="754" actId="20577"/>
          <ac:spMkLst>
            <pc:docMk/>
            <pc:sldMk cId="3215320470" sldId="288"/>
            <ac:spMk id="2" creationId="{2C364417-4230-30CF-801C-C437F409F04E}"/>
          </ac:spMkLst>
        </pc:spChg>
        <pc:spChg chg="mod">
          <ac:chgData name="Pauline Smout" userId="3153cd80-1eee-4546-abae-f15e9d00b721" providerId="ADAL" clId="{F85F2783-3C7F-48FE-8874-7B6EACA9ED58}" dt="2022-12-02T16:39:57.816" v="785" actId="20577"/>
          <ac:spMkLst>
            <pc:docMk/>
            <pc:sldMk cId="3215320470" sldId="288"/>
            <ac:spMk id="3" creationId="{095B6F35-C464-CB1A-98D8-84BA1D1241EB}"/>
          </ac:spMkLst>
        </pc:spChg>
        <pc:spChg chg="mod">
          <ac:chgData name="Pauline Smout" userId="3153cd80-1eee-4546-abae-f15e9d00b721" providerId="ADAL" clId="{F85F2783-3C7F-48FE-8874-7B6EACA9ED58}" dt="2022-12-02T16:39:18.930" v="698" actId="20577"/>
          <ac:spMkLst>
            <pc:docMk/>
            <pc:sldMk cId="3215320470" sldId="288"/>
            <ac:spMk id="4" creationId="{87846390-15BC-6815-BE70-5DF83A2CAA52}"/>
          </ac:spMkLst>
        </pc:spChg>
      </pc:sldChg>
      <pc:sldChg chg="addSp modSp add mod">
        <pc:chgData name="Pauline Smout" userId="3153cd80-1eee-4546-abae-f15e9d00b721" providerId="ADAL" clId="{F85F2783-3C7F-48FE-8874-7B6EACA9ED58}" dt="2022-12-05T08:18:51.700" v="968"/>
        <pc:sldMkLst>
          <pc:docMk/>
          <pc:sldMk cId="3024591708" sldId="289"/>
        </pc:sldMkLst>
        <pc:spChg chg="mod">
          <ac:chgData name="Pauline Smout" userId="3153cd80-1eee-4546-abae-f15e9d00b721" providerId="ADAL" clId="{F85F2783-3C7F-48FE-8874-7B6EACA9ED58}" dt="2022-12-05T08:18:51.700" v="968"/>
          <ac:spMkLst>
            <pc:docMk/>
            <pc:sldMk cId="3024591708" sldId="289"/>
            <ac:spMk id="2" creationId="{4C55C6BD-4914-E229-6FD2-428E6C8EDB79}"/>
          </ac:spMkLst>
        </pc:spChg>
        <pc:spChg chg="add mod">
          <ac:chgData name="Pauline Smout" userId="3153cd80-1eee-4546-abae-f15e9d00b721" providerId="ADAL" clId="{F85F2783-3C7F-48FE-8874-7B6EACA9ED58}" dt="2022-12-02T16:44:31.060" v="914"/>
          <ac:spMkLst>
            <pc:docMk/>
            <pc:sldMk cId="3024591708" sldId="289"/>
            <ac:spMk id="3" creationId="{2A526427-2C6E-6008-B563-15F55B7F4B08}"/>
          </ac:spMkLst>
        </pc:spChg>
      </pc:sldChg>
      <pc:sldChg chg="add">
        <pc:chgData name="Pauline Smout" userId="3153cd80-1eee-4546-abae-f15e9d00b721" providerId="ADAL" clId="{F85F2783-3C7F-48FE-8874-7B6EACA9ED58}" dt="2022-12-02T16:41:00.165" v="788"/>
        <pc:sldMkLst>
          <pc:docMk/>
          <pc:sldMk cId="4271035332" sldId="290"/>
        </pc:sldMkLst>
      </pc:sldChg>
      <pc:sldChg chg="add del">
        <pc:chgData name="Pauline Smout" userId="3153cd80-1eee-4546-abae-f15e9d00b721" providerId="ADAL" clId="{F85F2783-3C7F-48FE-8874-7B6EACA9ED58}" dt="2022-12-02T16:42:49.313" v="792" actId="47"/>
        <pc:sldMkLst>
          <pc:docMk/>
          <pc:sldMk cId="2289309646" sldId="291"/>
        </pc:sldMkLst>
      </pc:sldChg>
    </pc:docChg>
  </pc:docChgLst>
  <pc:docChgLst>
    <pc:chgData name="Pauline Smout" userId="3153cd80-1eee-4546-abae-f15e9d00b721" providerId="ADAL" clId="{47BC2F6C-A532-43C9-8D83-0079ACC8108B}"/>
    <pc:docChg chg="undo custSel addSld delSld modSld sldOrd modMainMaster delSection modSection">
      <pc:chgData name="Pauline Smout" userId="3153cd80-1eee-4546-abae-f15e9d00b721" providerId="ADAL" clId="{47BC2F6C-A532-43C9-8D83-0079ACC8108B}" dt="2022-12-16T09:04:05.809" v="1073" actId="20577"/>
      <pc:docMkLst>
        <pc:docMk/>
      </pc:docMkLst>
      <pc:sldChg chg="addSp modSp mod">
        <pc:chgData name="Pauline Smout" userId="3153cd80-1eee-4546-abae-f15e9d00b721" providerId="ADAL" clId="{47BC2F6C-A532-43C9-8D83-0079ACC8108B}" dt="2022-12-15T23:57:36.962" v="825" actId="20577"/>
        <pc:sldMkLst>
          <pc:docMk/>
          <pc:sldMk cId="997040506" sldId="286"/>
        </pc:sldMkLst>
        <pc:spChg chg="mod">
          <ac:chgData name="Pauline Smout" userId="3153cd80-1eee-4546-abae-f15e9d00b721" providerId="ADAL" clId="{47BC2F6C-A532-43C9-8D83-0079ACC8108B}" dt="2022-12-15T23:03:05.799" v="79" actId="255"/>
          <ac:spMkLst>
            <pc:docMk/>
            <pc:sldMk cId="997040506" sldId="286"/>
            <ac:spMk id="3" creationId="{C80C1250-E5B6-CE6D-0CF0-0E1831C68261}"/>
          </ac:spMkLst>
        </pc:spChg>
        <pc:spChg chg="mod">
          <ac:chgData name="Pauline Smout" userId="3153cd80-1eee-4546-abae-f15e9d00b721" providerId="ADAL" clId="{47BC2F6C-A532-43C9-8D83-0079ACC8108B}" dt="2022-12-15T23:03:00.510" v="78" actId="255"/>
          <ac:spMkLst>
            <pc:docMk/>
            <pc:sldMk cId="997040506" sldId="286"/>
            <ac:spMk id="5" creationId="{AC9C76C8-1740-01DC-AAF9-F902D51C3C77}"/>
          </ac:spMkLst>
        </pc:spChg>
        <pc:spChg chg="mod">
          <ac:chgData name="Pauline Smout" userId="3153cd80-1eee-4546-abae-f15e9d00b721" providerId="ADAL" clId="{47BC2F6C-A532-43C9-8D83-0079ACC8108B}" dt="2022-12-15T23:03:10.576" v="80" actId="255"/>
          <ac:spMkLst>
            <pc:docMk/>
            <pc:sldMk cId="997040506" sldId="286"/>
            <ac:spMk id="6" creationId="{6940D0EB-516A-8D98-A38E-A1C72E73CA98}"/>
          </ac:spMkLst>
        </pc:spChg>
        <pc:spChg chg="mod">
          <ac:chgData name="Pauline Smout" userId="3153cd80-1eee-4546-abae-f15e9d00b721" providerId="ADAL" clId="{47BC2F6C-A532-43C9-8D83-0079ACC8108B}" dt="2022-12-15T23:03:05.799" v="79" actId="255"/>
          <ac:spMkLst>
            <pc:docMk/>
            <pc:sldMk cId="997040506" sldId="286"/>
            <ac:spMk id="7" creationId="{D3BCE1C7-185F-CA8C-4DCE-5554771EB373}"/>
          </ac:spMkLst>
        </pc:spChg>
        <pc:spChg chg="mod">
          <ac:chgData name="Pauline Smout" userId="3153cd80-1eee-4546-abae-f15e9d00b721" providerId="ADAL" clId="{47BC2F6C-A532-43C9-8D83-0079ACC8108B}" dt="2022-12-15T23:57:36.962" v="825" actId="20577"/>
          <ac:spMkLst>
            <pc:docMk/>
            <pc:sldMk cId="997040506" sldId="286"/>
            <ac:spMk id="8" creationId="{166777B2-4EB4-59B7-08C8-9920EBA5BA6C}"/>
          </ac:spMkLst>
        </pc:spChg>
        <pc:spChg chg="mod">
          <ac:chgData name="Pauline Smout" userId="3153cd80-1eee-4546-abae-f15e9d00b721" providerId="ADAL" clId="{47BC2F6C-A532-43C9-8D83-0079ACC8108B}" dt="2022-12-15T23:03:05.799" v="79" actId="255"/>
          <ac:spMkLst>
            <pc:docMk/>
            <pc:sldMk cId="997040506" sldId="286"/>
            <ac:spMk id="9" creationId="{8EC6A9A0-F9B2-BD68-C9EA-1C7F63B93DAE}"/>
          </ac:spMkLst>
        </pc:spChg>
        <pc:spChg chg="add mod">
          <ac:chgData name="Pauline Smout" userId="3153cd80-1eee-4546-abae-f15e9d00b721" providerId="ADAL" clId="{47BC2F6C-A532-43C9-8D83-0079ACC8108B}" dt="2022-12-15T22:57:18.948" v="13"/>
          <ac:spMkLst>
            <pc:docMk/>
            <pc:sldMk cId="997040506" sldId="286"/>
            <ac:spMk id="11" creationId="{0E87A9E6-49A1-60C5-BC60-D8257DE1388A}"/>
          </ac:spMkLst>
        </pc:spChg>
        <pc:spChg chg="add mod">
          <ac:chgData name="Pauline Smout" userId="3153cd80-1eee-4546-abae-f15e9d00b721" providerId="ADAL" clId="{47BC2F6C-A532-43C9-8D83-0079ACC8108B}" dt="2022-12-15T23:04:15.814" v="97" actId="14100"/>
          <ac:spMkLst>
            <pc:docMk/>
            <pc:sldMk cId="997040506" sldId="286"/>
            <ac:spMk id="12" creationId="{AAA953D7-47CB-4CDC-B531-ED63ED4DC288}"/>
          </ac:spMkLst>
        </pc:spChg>
        <pc:picChg chg="add mod">
          <ac:chgData name="Pauline Smout" userId="3153cd80-1eee-4546-abae-f15e9d00b721" providerId="ADAL" clId="{47BC2F6C-A532-43C9-8D83-0079ACC8108B}" dt="2022-12-15T22:57:18.948" v="13"/>
          <ac:picMkLst>
            <pc:docMk/>
            <pc:sldMk cId="997040506" sldId="286"/>
            <ac:picMk id="4" creationId="{1FB62A24-85AC-2995-20CF-B79984A70166}"/>
          </ac:picMkLst>
        </pc:picChg>
        <pc:picChg chg="add mod">
          <ac:chgData name="Pauline Smout" userId="3153cd80-1eee-4546-abae-f15e9d00b721" providerId="ADAL" clId="{47BC2F6C-A532-43C9-8D83-0079ACC8108B}" dt="2022-12-15T22:57:18.948" v="13"/>
          <ac:picMkLst>
            <pc:docMk/>
            <pc:sldMk cId="997040506" sldId="286"/>
            <ac:picMk id="10" creationId="{D2582D6F-4CDD-1CB8-7A41-EA501E42DD22}"/>
          </ac:picMkLst>
        </pc:picChg>
      </pc:sldChg>
      <pc:sldChg chg="addSp modSp mod">
        <pc:chgData name="Pauline Smout" userId="3153cd80-1eee-4546-abae-f15e9d00b721" providerId="ADAL" clId="{47BC2F6C-A532-43C9-8D83-0079ACC8108B}" dt="2022-12-15T23:02:53.370" v="77" actId="255"/>
        <pc:sldMkLst>
          <pc:docMk/>
          <pc:sldMk cId="2328836022" sldId="287"/>
        </pc:sldMkLst>
        <pc:spChg chg="mod">
          <ac:chgData name="Pauline Smout" userId="3153cd80-1eee-4546-abae-f15e9d00b721" providerId="ADAL" clId="{47BC2F6C-A532-43C9-8D83-0079ACC8108B}" dt="2022-12-15T23:02:49.234" v="76" actId="255"/>
          <ac:spMkLst>
            <pc:docMk/>
            <pc:sldMk cId="2328836022" sldId="287"/>
            <ac:spMk id="3" creationId="{095B6F35-C464-CB1A-98D8-84BA1D1241EB}"/>
          </ac:spMkLst>
        </pc:spChg>
        <pc:spChg chg="mod">
          <ac:chgData name="Pauline Smout" userId="3153cd80-1eee-4546-abae-f15e9d00b721" providerId="ADAL" clId="{47BC2F6C-A532-43C9-8D83-0079ACC8108B}" dt="2022-12-15T23:02:53.370" v="77" actId="255"/>
          <ac:spMkLst>
            <pc:docMk/>
            <pc:sldMk cId="2328836022" sldId="287"/>
            <ac:spMk id="4" creationId="{87846390-15BC-6815-BE70-5DF83A2CAA52}"/>
          </ac:spMkLst>
        </pc:spChg>
        <pc:spChg chg="add mod">
          <ac:chgData name="Pauline Smout" userId="3153cd80-1eee-4546-abae-f15e9d00b721" providerId="ADAL" clId="{47BC2F6C-A532-43C9-8D83-0079ACC8108B}" dt="2022-12-15T22:57:16.513" v="12"/>
          <ac:spMkLst>
            <pc:docMk/>
            <pc:sldMk cId="2328836022" sldId="287"/>
            <ac:spMk id="7" creationId="{2D95F98B-A398-8E28-0B72-62DC1E8B73C1}"/>
          </ac:spMkLst>
        </pc:spChg>
        <pc:spChg chg="add mod">
          <ac:chgData name="Pauline Smout" userId="3153cd80-1eee-4546-abae-f15e9d00b721" providerId="ADAL" clId="{47BC2F6C-A532-43C9-8D83-0079ACC8108B}" dt="2022-12-15T23:02:01.362" v="70" actId="404"/>
          <ac:spMkLst>
            <pc:docMk/>
            <pc:sldMk cId="2328836022" sldId="287"/>
            <ac:spMk id="8" creationId="{63806430-090A-261A-5481-57459F5C7329}"/>
          </ac:spMkLst>
        </pc:spChg>
        <pc:picChg chg="add mod">
          <ac:chgData name="Pauline Smout" userId="3153cd80-1eee-4546-abae-f15e9d00b721" providerId="ADAL" clId="{47BC2F6C-A532-43C9-8D83-0079ACC8108B}" dt="2022-12-15T22:57:16.513" v="12"/>
          <ac:picMkLst>
            <pc:docMk/>
            <pc:sldMk cId="2328836022" sldId="287"/>
            <ac:picMk id="5" creationId="{632163FA-5E1D-736B-79CE-ADF08086A657}"/>
          </ac:picMkLst>
        </pc:picChg>
        <pc:picChg chg="add mod">
          <ac:chgData name="Pauline Smout" userId="3153cd80-1eee-4546-abae-f15e9d00b721" providerId="ADAL" clId="{47BC2F6C-A532-43C9-8D83-0079ACC8108B}" dt="2022-12-15T22:57:16.513" v="12"/>
          <ac:picMkLst>
            <pc:docMk/>
            <pc:sldMk cId="2328836022" sldId="287"/>
            <ac:picMk id="6" creationId="{CEE9BA91-88F3-3C98-0E73-2E9CDA6DB493}"/>
          </ac:picMkLst>
        </pc:picChg>
      </pc:sldChg>
      <pc:sldChg chg="addSp modSp mod">
        <pc:chgData name="Pauline Smout" userId="3153cd80-1eee-4546-abae-f15e9d00b721" providerId="ADAL" clId="{47BC2F6C-A532-43C9-8D83-0079ACC8108B}" dt="2022-12-15T23:04:41.192" v="105" actId="20577"/>
        <pc:sldMkLst>
          <pc:docMk/>
          <pc:sldMk cId="3215320470" sldId="288"/>
        </pc:sldMkLst>
        <pc:spChg chg="mod">
          <ac:chgData name="Pauline Smout" userId="3153cd80-1eee-4546-abae-f15e9d00b721" providerId="ADAL" clId="{47BC2F6C-A532-43C9-8D83-0079ACC8108B}" dt="2022-12-15T23:04:29.049" v="100" actId="20577"/>
          <ac:spMkLst>
            <pc:docMk/>
            <pc:sldMk cId="3215320470" sldId="288"/>
            <ac:spMk id="2" creationId="{2C364417-4230-30CF-801C-C437F409F04E}"/>
          </ac:spMkLst>
        </pc:spChg>
        <pc:spChg chg="mod">
          <ac:chgData name="Pauline Smout" userId="3153cd80-1eee-4546-abae-f15e9d00b721" providerId="ADAL" clId="{47BC2F6C-A532-43C9-8D83-0079ACC8108B}" dt="2022-12-15T23:04:21.578" v="98" actId="14100"/>
          <ac:spMkLst>
            <pc:docMk/>
            <pc:sldMk cId="3215320470" sldId="288"/>
            <ac:spMk id="3" creationId="{095B6F35-C464-CB1A-98D8-84BA1D1241EB}"/>
          </ac:spMkLst>
        </pc:spChg>
        <pc:spChg chg="mod">
          <ac:chgData name="Pauline Smout" userId="3153cd80-1eee-4546-abae-f15e9d00b721" providerId="ADAL" clId="{47BC2F6C-A532-43C9-8D83-0079ACC8108B}" dt="2022-12-15T23:03:20.633" v="82" actId="255"/>
          <ac:spMkLst>
            <pc:docMk/>
            <pc:sldMk cId="3215320470" sldId="288"/>
            <ac:spMk id="4" creationId="{87846390-15BC-6815-BE70-5DF83A2CAA52}"/>
          </ac:spMkLst>
        </pc:spChg>
        <pc:spChg chg="add mod">
          <ac:chgData name="Pauline Smout" userId="3153cd80-1eee-4546-abae-f15e9d00b721" providerId="ADAL" clId="{47BC2F6C-A532-43C9-8D83-0079ACC8108B}" dt="2022-12-15T22:57:19.669" v="14"/>
          <ac:spMkLst>
            <pc:docMk/>
            <pc:sldMk cId="3215320470" sldId="288"/>
            <ac:spMk id="7" creationId="{156D2511-2B30-3893-9916-8CAEA317C3A2}"/>
          </ac:spMkLst>
        </pc:spChg>
        <pc:spChg chg="add mod">
          <ac:chgData name="Pauline Smout" userId="3153cd80-1eee-4546-abae-f15e9d00b721" providerId="ADAL" clId="{47BC2F6C-A532-43C9-8D83-0079ACC8108B}" dt="2022-12-15T23:04:41.192" v="105" actId="20577"/>
          <ac:spMkLst>
            <pc:docMk/>
            <pc:sldMk cId="3215320470" sldId="288"/>
            <ac:spMk id="8" creationId="{F3F57013-9C0A-B3A1-FA6E-B56FD31EFFEF}"/>
          </ac:spMkLst>
        </pc:spChg>
        <pc:picChg chg="add mod">
          <ac:chgData name="Pauline Smout" userId="3153cd80-1eee-4546-abae-f15e9d00b721" providerId="ADAL" clId="{47BC2F6C-A532-43C9-8D83-0079ACC8108B}" dt="2022-12-15T22:57:19.669" v="14"/>
          <ac:picMkLst>
            <pc:docMk/>
            <pc:sldMk cId="3215320470" sldId="288"/>
            <ac:picMk id="5" creationId="{1FA61A14-92AB-22B0-CED5-7A9A7B2020A7}"/>
          </ac:picMkLst>
        </pc:picChg>
        <pc:picChg chg="add mod">
          <ac:chgData name="Pauline Smout" userId="3153cd80-1eee-4546-abae-f15e9d00b721" providerId="ADAL" clId="{47BC2F6C-A532-43C9-8D83-0079ACC8108B}" dt="2022-12-15T22:57:19.669" v="14"/>
          <ac:picMkLst>
            <pc:docMk/>
            <pc:sldMk cId="3215320470" sldId="288"/>
            <ac:picMk id="6" creationId="{29A1A28C-21EE-DA76-8FB7-805428A1CA4E}"/>
          </ac:picMkLst>
        </pc:picChg>
      </pc:sldChg>
      <pc:sldChg chg="addSp modSp del mod">
        <pc:chgData name="Pauline Smout" userId="3153cd80-1eee-4546-abae-f15e9d00b721" providerId="ADAL" clId="{47BC2F6C-A532-43C9-8D83-0079ACC8108B}" dt="2022-12-15T23:05:03.903" v="106" actId="47"/>
        <pc:sldMkLst>
          <pc:docMk/>
          <pc:sldMk cId="3024591708" sldId="289"/>
        </pc:sldMkLst>
        <pc:spChg chg="mod">
          <ac:chgData name="Pauline Smout" userId="3153cd80-1eee-4546-abae-f15e9d00b721" providerId="ADAL" clId="{47BC2F6C-A532-43C9-8D83-0079ACC8108B}" dt="2022-12-15T23:03:37.641" v="86" actId="255"/>
          <ac:spMkLst>
            <pc:docMk/>
            <pc:sldMk cId="3024591708" sldId="289"/>
            <ac:spMk id="3" creationId="{2A526427-2C6E-6008-B563-15F55B7F4B08}"/>
          </ac:spMkLst>
        </pc:spChg>
        <pc:spChg chg="mod">
          <ac:chgData name="Pauline Smout" userId="3153cd80-1eee-4546-abae-f15e9d00b721" providerId="ADAL" clId="{47BC2F6C-A532-43C9-8D83-0079ACC8108B}" dt="2022-12-15T23:03:27.398" v="83" actId="255"/>
          <ac:spMkLst>
            <pc:docMk/>
            <pc:sldMk cId="3024591708" sldId="289"/>
            <ac:spMk id="5" creationId="{AC9C76C8-1740-01DC-AAF9-F902D51C3C77}"/>
          </ac:spMkLst>
        </pc:spChg>
        <pc:spChg chg="mod">
          <ac:chgData name="Pauline Smout" userId="3153cd80-1eee-4546-abae-f15e9d00b721" providerId="ADAL" clId="{47BC2F6C-A532-43C9-8D83-0079ACC8108B}" dt="2022-12-15T23:03:42.397" v="87" actId="255"/>
          <ac:spMkLst>
            <pc:docMk/>
            <pc:sldMk cId="3024591708" sldId="289"/>
            <ac:spMk id="6" creationId="{6940D0EB-516A-8D98-A38E-A1C72E73CA98}"/>
          </ac:spMkLst>
        </pc:spChg>
        <pc:spChg chg="mod">
          <ac:chgData name="Pauline Smout" userId="3153cd80-1eee-4546-abae-f15e9d00b721" providerId="ADAL" clId="{47BC2F6C-A532-43C9-8D83-0079ACC8108B}" dt="2022-12-15T23:03:34.316" v="85" actId="14100"/>
          <ac:spMkLst>
            <pc:docMk/>
            <pc:sldMk cId="3024591708" sldId="289"/>
            <ac:spMk id="7" creationId="{D3BCE1C7-185F-CA8C-4DCE-5554771EB373}"/>
          </ac:spMkLst>
        </pc:spChg>
        <pc:spChg chg="mod">
          <ac:chgData name="Pauline Smout" userId="3153cd80-1eee-4546-abae-f15e9d00b721" providerId="ADAL" clId="{47BC2F6C-A532-43C9-8D83-0079ACC8108B}" dt="2022-12-15T23:03:42.397" v="87" actId="255"/>
          <ac:spMkLst>
            <pc:docMk/>
            <pc:sldMk cId="3024591708" sldId="289"/>
            <ac:spMk id="8" creationId="{166777B2-4EB4-59B7-08C8-9920EBA5BA6C}"/>
          </ac:spMkLst>
        </pc:spChg>
        <pc:spChg chg="mod">
          <ac:chgData name="Pauline Smout" userId="3153cd80-1eee-4546-abae-f15e9d00b721" providerId="ADAL" clId="{47BC2F6C-A532-43C9-8D83-0079ACC8108B}" dt="2022-12-15T23:03:34.316" v="85" actId="14100"/>
          <ac:spMkLst>
            <pc:docMk/>
            <pc:sldMk cId="3024591708" sldId="289"/>
            <ac:spMk id="9" creationId="{8EC6A9A0-F9B2-BD68-C9EA-1C7F63B93DAE}"/>
          </ac:spMkLst>
        </pc:spChg>
        <pc:spChg chg="add mod">
          <ac:chgData name="Pauline Smout" userId="3153cd80-1eee-4546-abae-f15e9d00b721" providerId="ADAL" clId="{47BC2F6C-A532-43C9-8D83-0079ACC8108B}" dt="2022-12-15T22:57:20.218" v="15"/>
          <ac:spMkLst>
            <pc:docMk/>
            <pc:sldMk cId="3024591708" sldId="289"/>
            <ac:spMk id="11" creationId="{35192F88-62CF-A893-92BD-2F0A3347A685}"/>
          </ac:spMkLst>
        </pc:spChg>
        <pc:picChg chg="add mod">
          <ac:chgData name="Pauline Smout" userId="3153cd80-1eee-4546-abae-f15e9d00b721" providerId="ADAL" clId="{47BC2F6C-A532-43C9-8D83-0079ACC8108B}" dt="2022-12-15T22:57:20.218" v="15"/>
          <ac:picMkLst>
            <pc:docMk/>
            <pc:sldMk cId="3024591708" sldId="289"/>
            <ac:picMk id="4" creationId="{696EB703-2F11-E273-1423-3D46BF1D9CB9}"/>
          </ac:picMkLst>
        </pc:picChg>
        <pc:picChg chg="add mod">
          <ac:chgData name="Pauline Smout" userId="3153cd80-1eee-4546-abae-f15e9d00b721" providerId="ADAL" clId="{47BC2F6C-A532-43C9-8D83-0079ACC8108B}" dt="2022-12-15T22:57:20.218" v="15"/>
          <ac:picMkLst>
            <pc:docMk/>
            <pc:sldMk cId="3024591708" sldId="289"/>
            <ac:picMk id="10" creationId="{E7DFCE01-6E90-3361-E54F-513D83891919}"/>
          </ac:picMkLst>
        </pc:picChg>
      </pc:sldChg>
      <pc:sldChg chg="addSp modSp del">
        <pc:chgData name="Pauline Smout" userId="3153cd80-1eee-4546-abae-f15e9d00b721" providerId="ADAL" clId="{47BC2F6C-A532-43C9-8D83-0079ACC8108B}" dt="2022-12-15T23:05:03.903" v="106" actId="47"/>
        <pc:sldMkLst>
          <pc:docMk/>
          <pc:sldMk cId="4271035332" sldId="290"/>
        </pc:sldMkLst>
        <pc:spChg chg="add mod">
          <ac:chgData name="Pauline Smout" userId="3153cd80-1eee-4546-abae-f15e9d00b721" providerId="ADAL" clId="{47BC2F6C-A532-43C9-8D83-0079ACC8108B}" dt="2022-12-15T22:57:20.703" v="16"/>
          <ac:spMkLst>
            <pc:docMk/>
            <pc:sldMk cId="4271035332" sldId="290"/>
            <ac:spMk id="7" creationId="{E6FAD6B7-9DB3-5E57-787A-94D1509E21A5}"/>
          </ac:spMkLst>
        </pc:spChg>
        <pc:picChg chg="add mod">
          <ac:chgData name="Pauline Smout" userId="3153cd80-1eee-4546-abae-f15e9d00b721" providerId="ADAL" clId="{47BC2F6C-A532-43C9-8D83-0079ACC8108B}" dt="2022-12-15T22:57:20.703" v="16"/>
          <ac:picMkLst>
            <pc:docMk/>
            <pc:sldMk cId="4271035332" sldId="290"/>
            <ac:picMk id="5" creationId="{F19976B5-8A8B-C963-26CF-02DD825F14C6}"/>
          </ac:picMkLst>
        </pc:picChg>
        <pc:picChg chg="add mod">
          <ac:chgData name="Pauline Smout" userId="3153cd80-1eee-4546-abae-f15e9d00b721" providerId="ADAL" clId="{47BC2F6C-A532-43C9-8D83-0079ACC8108B}" dt="2022-12-15T22:57:20.703" v="16"/>
          <ac:picMkLst>
            <pc:docMk/>
            <pc:sldMk cId="4271035332" sldId="290"/>
            <ac:picMk id="6" creationId="{7394B6BA-03F2-7A2E-9B40-86FA760B2E09}"/>
          </ac:picMkLst>
        </pc:picChg>
      </pc:sldChg>
      <pc:sldChg chg="new del ord">
        <pc:chgData name="Pauline Smout" userId="3153cd80-1eee-4546-abae-f15e9d00b721" providerId="ADAL" clId="{47BC2F6C-A532-43C9-8D83-0079ACC8108B}" dt="2022-12-15T22:58:35.525" v="21" actId="47"/>
        <pc:sldMkLst>
          <pc:docMk/>
          <pc:sldMk cId="133778771" sldId="291"/>
        </pc:sldMkLst>
      </pc:sldChg>
      <pc:sldChg chg="addSp delSp modSp add mod">
        <pc:chgData name="Pauline Smout" userId="3153cd80-1eee-4546-abae-f15e9d00b721" providerId="ADAL" clId="{47BC2F6C-A532-43C9-8D83-0079ACC8108B}" dt="2022-12-16T09:04:05.809" v="1073" actId="20577"/>
        <pc:sldMkLst>
          <pc:docMk/>
          <pc:sldMk cId="2464049271" sldId="295"/>
        </pc:sldMkLst>
        <pc:spChg chg="add mod">
          <ac:chgData name="Pauline Smout" userId="3153cd80-1eee-4546-abae-f15e9d00b721" providerId="ADAL" clId="{47BC2F6C-A532-43C9-8D83-0079ACC8108B}" dt="2022-12-16T09:04:05.809" v="1073" actId="20577"/>
          <ac:spMkLst>
            <pc:docMk/>
            <pc:sldMk cId="2464049271" sldId="295"/>
            <ac:spMk id="2" creationId="{0588825E-FFE7-32A3-404E-8E63FCCB1CA4}"/>
          </ac:spMkLst>
        </pc:spChg>
        <pc:spChg chg="del">
          <ac:chgData name="Pauline Smout" userId="3153cd80-1eee-4546-abae-f15e9d00b721" providerId="ADAL" clId="{47BC2F6C-A532-43C9-8D83-0079ACC8108B}" dt="2022-12-15T22:58:51.773" v="23" actId="478"/>
          <ac:spMkLst>
            <pc:docMk/>
            <pc:sldMk cId="2464049271" sldId="295"/>
            <ac:spMk id="2" creationId="{78B9794B-86DF-B2B9-4B9A-8A393DB40B9D}"/>
          </ac:spMkLst>
        </pc:spChg>
        <pc:spChg chg="mod">
          <ac:chgData name="Pauline Smout" userId="3153cd80-1eee-4546-abae-f15e9d00b721" providerId="ADAL" clId="{47BC2F6C-A532-43C9-8D83-0079ACC8108B}" dt="2022-12-16T08:50:14.408" v="851" actId="20577"/>
          <ac:spMkLst>
            <pc:docMk/>
            <pc:sldMk cId="2464049271" sldId="295"/>
            <ac:spMk id="3" creationId="{8EDECE36-CF72-E157-044B-C22517EF5C91}"/>
          </ac:spMkLst>
        </pc:spChg>
        <pc:spChg chg="mod">
          <ac:chgData name="Pauline Smout" userId="3153cd80-1eee-4546-abae-f15e9d00b721" providerId="ADAL" clId="{47BC2F6C-A532-43C9-8D83-0079ACC8108B}" dt="2022-12-16T08:48:01.531" v="836" actId="14100"/>
          <ac:spMkLst>
            <pc:docMk/>
            <pc:sldMk cId="2464049271" sldId="295"/>
            <ac:spMk id="5" creationId="{AE65E11B-E400-D9F2-10F7-8A4C6F125520}"/>
          </ac:spMkLst>
        </pc:spChg>
        <pc:spChg chg="mod">
          <ac:chgData name="Pauline Smout" userId="3153cd80-1eee-4546-abae-f15e9d00b721" providerId="ADAL" clId="{47BC2F6C-A532-43C9-8D83-0079ACC8108B}" dt="2022-12-16T08:48:14.505" v="839" actId="14100"/>
          <ac:spMkLst>
            <pc:docMk/>
            <pc:sldMk cId="2464049271" sldId="295"/>
            <ac:spMk id="6" creationId="{736F972D-5E48-9564-BF7C-13EBC47A933E}"/>
          </ac:spMkLst>
        </pc:spChg>
        <pc:spChg chg="mod">
          <ac:chgData name="Pauline Smout" userId="3153cd80-1eee-4546-abae-f15e9d00b721" providerId="ADAL" clId="{47BC2F6C-A532-43C9-8D83-0079ACC8108B}" dt="2022-12-16T08:48:10.494" v="838" actId="14100"/>
          <ac:spMkLst>
            <pc:docMk/>
            <pc:sldMk cId="2464049271" sldId="295"/>
            <ac:spMk id="7" creationId="{859C7CCB-94EA-A3D7-5555-D83ACEC1656F}"/>
          </ac:spMkLst>
        </pc:spChg>
        <pc:spChg chg="del">
          <ac:chgData name="Pauline Smout" userId="3153cd80-1eee-4546-abae-f15e9d00b721" providerId="ADAL" clId="{47BC2F6C-A532-43C9-8D83-0079ACC8108B}" dt="2022-12-15T22:59:40.826" v="42" actId="478"/>
          <ac:spMkLst>
            <pc:docMk/>
            <pc:sldMk cId="2464049271" sldId="295"/>
            <ac:spMk id="8" creationId="{B0685EF2-81A4-CABF-A5BC-82E04787E280}"/>
          </ac:spMkLst>
        </pc:spChg>
        <pc:spChg chg="del">
          <ac:chgData name="Pauline Smout" userId="3153cd80-1eee-4546-abae-f15e9d00b721" providerId="ADAL" clId="{47BC2F6C-A532-43C9-8D83-0079ACC8108B}" dt="2022-12-15T22:59:40.826" v="42" actId="478"/>
          <ac:spMkLst>
            <pc:docMk/>
            <pc:sldMk cId="2464049271" sldId="295"/>
            <ac:spMk id="9" creationId="{3D588E30-0DA7-AF72-9B33-7A818C3FB181}"/>
          </ac:spMkLst>
        </pc:spChg>
        <pc:spChg chg="add mod">
          <ac:chgData name="Pauline Smout" userId="3153cd80-1eee-4546-abae-f15e9d00b721" providerId="ADAL" clId="{47BC2F6C-A532-43C9-8D83-0079ACC8108B}" dt="2022-12-15T22:58:44.987" v="22"/>
          <ac:spMkLst>
            <pc:docMk/>
            <pc:sldMk cId="2464049271" sldId="295"/>
            <ac:spMk id="11" creationId="{0E3CBA74-DE54-BF43-03EC-3BF613BADBF3}"/>
          </ac:spMkLst>
        </pc:spChg>
        <pc:spChg chg="add mod">
          <ac:chgData name="Pauline Smout" userId="3153cd80-1eee-4546-abae-f15e9d00b721" providerId="ADAL" clId="{47BC2F6C-A532-43C9-8D83-0079ACC8108B}" dt="2022-12-15T22:59:28.440" v="41" actId="20577"/>
          <ac:spMkLst>
            <pc:docMk/>
            <pc:sldMk cId="2464049271" sldId="295"/>
            <ac:spMk id="13" creationId="{2FF14F46-5DB1-BC0F-4220-9DF6F18E2FD2}"/>
          </ac:spMkLst>
        </pc:spChg>
        <pc:picChg chg="add mod">
          <ac:chgData name="Pauline Smout" userId="3153cd80-1eee-4546-abae-f15e9d00b721" providerId="ADAL" clId="{47BC2F6C-A532-43C9-8D83-0079ACC8108B}" dt="2022-12-15T22:58:44.987" v="22"/>
          <ac:picMkLst>
            <pc:docMk/>
            <pc:sldMk cId="2464049271" sldId="295"/>
            <ac:picMk id="4" creationId="{6ABDFD80-D53F-5C23-5205-DC9DE08C5E3C}"/>
          </ac:picMkLst>
        </pc:picChg>
        <pc:picChg chg="add mod">
          <ac:chgData name="Pauline Smout" userId="3153cd80-1eee-4546-abae-f15e9d00b721" providerId="ADAL" clId="{47BC2F6C-A532-43C9-8D83-0079ACC8108B}" dt="2022-12-15T22:58:44.987" v="22"/>
          <ac:picMkLst>
            <pc:docMk/>
            <pc:sldMk cId="2464049271" sldId="295"/>
            <ac:picMk id="10" creationId="{6457CC37-3908-C4FF-C674-EF178DB2EFB6}"/>
          </ac:picMkLst>
        </pc:picChg>
      </pc:sldChg>
      <pc:sldMasterChg chg="addSp delSp modSp mod">
        <pc:chgData name="Pauline Smout" userId="3153cd80-1eee-4546-abae-f15e9d00b721" providerId="ADAL" clId="{47BC2F6C-A532-43C9-8D83-0079ACC8108B}" dt="2022-12-15T22:56:46.542" v="9" actId="21"/>
        <pc:sldMasterMkLst>
          <pc:docMk/>
          <pc:sldMasterMk cId="2908355111" sldId="2147483648"/>
        </pc:sldMasterMkLst>
        <pc:spChg chg="add del mod">
          <ac:chgData name="Pauline Smout" userId="3153cd80-1eee-4546-abae-f15e9d00b721" providerId="ADAL" clId="{47BC2F6C-A532-43C9-8D83-0079ACC8108B}" dt="2022-12-15T22:56:46.542" v="9" actId="21"/>
          <ac:spMkLst>
            <pc:docMk/>
            <pc:sldMasterMk cId="2908355111" sldId="2147483648"/>
            <ac:spMk id="9" creationId="{03255171-EFD3-477D-3049-303D07CF87E1}"/>
          </ac:spMkLst>
        </pc:spChg>
        <pc:picChg chg="add del mod">
          <ac:chgData name="Pauline Smout" userId="3153cd80-1eee-4546-abae-f15e9d00b721" providerId="ADAL" clId="{47BC2F6C-A532-43C9-8D83-0079ACC8108B}" dt="2022-12-15T22:56:46.542" v="9" actId="21"/>
          <ac:picMkLst>
            <pc:docMk/>
            <pc:sldMasterMk cId="2908355111" sldId="2147483648"/>
            <ac:picMk id="7" creationId="{65F8F6B2-EDB1-9989-8E85-432ED56EE45C}"/>
          </ac:picMkLst>
        </pc:picChg>
        <pc:picChg chg="add del mod">
          <ac:chgData name="Pauline Smout" userId="3153cd80-1eee-4546-abae-f15e9d00b721" providerId="ADAL" clId="{47BC2F6C-A532-43C9-8D83-0079ACC8108B}" dt="2022-12-15T22:56:46.542" v="9" actId="21"/>
          <ac:picMkLst>
            <pc:docMk/>
            <pc:sldMasterMk cId="2908355111" sldId="2147483648"/>
            <ac:picMk id="8" creationId="{25E0DAC5-C6C9-5E18-ACA6-7EC3F241280D}"/>
          </ac:picMkLst>
        </pc:picChg>
      </pc:sldMasterChg>
      <pc:sldMasterChg chg="modSp modSldLayout">
        <pc:chgData name="Pauline Smout" userId="3153cd80-1eee-4546-abae-f15e9d00b721" providerId="ADAL" clId="{47BC2F6C-A532-43C9-8D83-0079ACC8108B}" dt="2022-12-15T22:57:08.475" v="11"/>
        <pc:sldMasterMkLst>
          <pc:docMk/>
          <pc:sldMasterMk cId="1389443669" sldId="2147483660"/>
        </pc:sldMasterMkLst>
        <pc:sldLayoutChg chg="modSp">
          <pc:chgData name="Pauline Smout" userId="3153cd80-1eee-4546-abae-f15e9d00b721" providerId="ADAL" clId="{47BC2F6C-A532-43C9-8D83-0079ACC8108B}" dt="2022-12-15T22:56:04.183" v="0" actId="735"/>
          <pc:sldLayoutMkLst>
            <pc:docMk/>
            <pc:sldMasterMk cId="1389443669" sldId="2147483660"/>
            <pc:sldLayoutMk cId="3709432466" sldId="2147483663"/>
          </pc:sldLayoutMkLst>
        </pc:sldLayoutChg>
        <pc:sldLayoutChg chg="addSp modSp">
          <pc:chgData name="Pauline Smout" userId="3153cd80-1eee-4546-abae-f15e9d00b721" providerId="ADAL" clId="{47BC2F6C-A532-43C9-8D83-0079ACC8108B}" dt="2022-12-15T22:57:08.475" v="11"/>
          <pc:sldLayoutMkLst>
            <pc:docMk/>
            <pc:sldMasterMk cId="1389443669" sldId="2147483660"/>
            <pc:sldLayoutMk cId="3039114807" sldId="2147483665"/>
          </pc:sldLayoutMkLst>
          <pc:spChg chg="add mod">
            <ac:chgData name="Pauline Smout" userId="3153cd80-1eee-4546-abae-f15e9d00b721" providerId="ADAL" clId="{47BC2F6C-A532-43C9-8D83-0079ACC8108B}" dt="2022-12-15T22:57:08.475" v="11"/>
            <ac:spMkLst>
              <pc:docMk/>
              <pc:sldMasterMk cId="1389443669" sldId="2147483660"/>
              <pc:sldLayoutMk cId="3039114807" sldId="2147483665"/>
              <ac:spMk id="6" creationId="{2DBD7ACD-EA09-2B0F-82E2-FAEFFBF481E2}"/>
            </ac:spMkLst>
          </pc:spChg>
          <pc:picChg chg="add mod">
            <ac:chgData name="Pauline Smout" userId="3153cd80-1eee-4546-abae-f15e9d00b721" providerId="ADAL" clId="{47BC2F6C-A532-43C9-8D83-0079ACC8108B}" dt="2022-12-15T22:57:08.475" v="11"/>
            <ac:picMkLst>
              <pc:docMk/>
              <pc:sldMasterMk cId="1389443669" sldId="2147483660"/>
              <pc:sldLayoutMk cId="3039114807" sldId="2147483665"/>
              <ac:picMk id="2" creationId="{373CE673-F54B-6346-B288-CC7384198500}"/>
            </ac:picMkLst>
          </pc:picChg>
          <pc:picChg chg="add mod">
            <ac:chgData name="Pauline Smout" userId="3153cd80-1eee-4546-abae-f15e9d00b721" providerId="ADAL" clId="{47BC2F6C-A532-43C9-8D83-0079ACC8108B}" dt="2022-12-15T22:57:08.475" v="11"/>
            <ac:picMkLst>
              <pc:docMk/>
              <pc:sldMasterMk cId="1389443669" sldId="2147483660"/>
              <pc:sldLayoutMk cId="3039114807" sldId="2147483665"/>
              <ac:picMk id="5" creationId="{142B8854-64F0-E503-52CD-641952602FDC}"/>
            </ac:picMkLst>
          </pc:picChg>
        </pc:sldLayoutChg>
      </pc:sldMasterChg>
    </pc:docChg>
  </pc:docChgLst>
  <pc:docChgLst>
    <pc:chgData name="Pauline Smout" userId="3153cd80-1eee-4546-abae-f15e9d00b721" providerId="ADAL" clId="{547B9B00-4707-4AC8-9FDE-BA0EA9194C65}"/>
    <pc:docChg chg="undo redo custSel addSld delSld modSld sldOrd addSection modSection">
      <pc:chgData name="Pauline Smout" userId="3153cd80-1eee-4546-abae-f15e9d00b721" providerId="ADAL" clId="{547B9B00-4707-4AC8-9FDE-BA0EA9194C65}" dt="2023-03-03T16:27:06.168" v="26894" actId="20577"/>
      <pc:docMkLst>
        <pc:docMk/>
      </pc:docMkLst>
      <pc:sldChg chg="add del">
        <pc:chgData name="Pauline Smout" userId="3153cd80-1eee-4546-abae-f15e9d00b721" providerId="ADAL" clId="{547B9B00-4707-4AC8-9FDE-BA0EA9194C65}" dt="2023-01-23T08:59:48.258" v="69" actId="47"/>
        <pc:sldMkLst>
          <pc:docMk/>
          <pc:sldMk cId="997040506" sldId="286"/>
        </pc:sldMkLst>
      </pc:sldChg>
      <pc:sldChg chg="addSp delSp modSp add del mod ord">
        <pc:chgData name="Pauline Smout" userId="3153cd80-1eee-4546-abae-f15e9d00b721" providerId="ADAL" clId="{547B9B00-4707-4AC8-9FDE-BA0EA9194C65}" dt="2023-01-26T11:26:47.641" v="3263" actId="47"/>
        <pc:sldMkLst>
          <pc:docMk/>
          <pc:sldMk cId="2328836022" sldId="287"/>
        </pc:sldMkLst>
        <pc:spChg chg="del mod">
          <ac:chgData name="Pauline Smout" userId="3153cd80-1eee-4546-abae-f15e9d00b721" providerId="ADAL" clId="{547B9B00-4707-4AC8-9FDE-BA0EA9194C65}" dt="2023-01-23T08:59:27.527" v="64" actId="478"/>
          <ac:spMkLst>
            <pc:docMk/>
            <pc:sldMk cId="2328836022" sldId="287"/>
            <ac:spMk id="2" creationId="{2C364417-4230-30CF-801C-C437F409F04E}"/>
          </ac:spMkLst>
        </pc:spChg>
        <pc:spChg chg="add del mod">
          <ac:chgData name="Pauline Smout" userId="3153cd80-1eee-4546-abae-f15e9d00b721" providerId="ADAL" clId="{547B9B00-4707-4AC8-9FDE-BA0EA9194C65}" dt="2023-01-23T09:42:07.603" v="185" actId="478"/>
          <ac:spMkLst>
            <pc:docMk/>
            <pc:sldMk cId="2328836022" sldId="287"/>
            <ac:spMk id="3" creationId="{095B6F35-C464-CB1A-98D8-84BA1D1241EB}"/>
          </ac:spMkLst>
        </pc:spChg>
        <pc:spChg chg="mod">
          <ac:chgData name="Pauline Smout" userId="3153cd80-1eee-4546-abae-f15e9d00b721" providerId="ADAL" clId="{547B9B00-4707-4AC8-9FDE-BA0EA9194C65}" dt="2023-01-25T17:15:05.427" v="525"/>
          <ac:spMkLst>
            <pc:docMk/>
            <pc:sldMk cId="2328836022" sldId="287"/>
            <ac:spMk id="3" creationId="{1B9D5EB0-9531-CF57-339E-5074EAB81BBB}"/>
          </ac:spMkLst>
        </pc:spChg>
        <pc:spChg chg="mod">
          <ac:chgData name="Pauline Smout" userId="3153cd80-1eee-4546-abae-f15e9d00b721" providerId="ADAL" clId="{547B9B00-4707-4AC8-9FDE-BA0EA9194C65}" dt="2023-01-25T17:15:05.427" v="525"/>
          <ac:spMkLst>
            <pc:docMk/>
            <pc:sldMk cId="2328836022" sldId="287"/>
            <ac:spMk id="4" creationId="{5DB01E95-EEA4-CFDC-9A54-510764FCD411}"/>
          </ac:spMkLst>
        </pc:spChg>
        <pc:spChg chg="del">
          <ac:chgData name="Pauline Smout" userId="3153cd80-1eee-4546-abae-f15e9d00b721" providerId="ADAL" clId="{547B9B00-4707-4AC8-9FDE-BA0EA9194C65}" dt="2023-01-23T08:59:52.926" v="70" actId="478"/>
          <ac:spMkLst>
            <pc:docMk/>
            <pc:sldMk cId="2328836022" sldId="287"/>
            <ac:spMk id="4" creationId="{87846390-15BC-6815-BE70-5DF83A2CAA52}"/>
          </ac:spMkLst>
        </pc:spChg>
        <pc:spChg chg="add del mod">
          <ac:chgData name="Pauline Smout" userId="3153cd80-1eee-4546-abae-f15e9d00b721" providerId="ADAL" clId="{547B9B00-4707-4AC8-9FDE-BA0EA9194C65}" dt="2023-01-25T17:16:09.961" v="547" actId="478"/>
          <ac:spMkLst>
            <pc:docMk/>
            <pc:sldMk cId="2328836022" sldId="287"/>
            <ac:spMk id="7" creationId="{2D95F98B-A398-8E28-0B72-62DC1E8B73C1}"/>
          </ac:spMkLst>
        </pc:spChg>
        <pc:spChg chg="mod">
          <ac:chgData name="Pauline Smout" userId="3153cd80-1eee-4546-abae-f15e9d00b721" providerId="ADAL" clId="{547B9B00-4707-4AC8-9FDE-BA0EA9194C65}" dt="2023-01-25T17:18:34.525" v="856" actId="20577"/>
          <ac:spMkLst>
            <pc:docMk/>
            <pc:sldMk cId="2328836022" sldId="287"/>
            <ac:spMk id="8" creationId="{63806430-090A-261A-5481-57459F5C7329}"/>
          </ac:spMkLst>
        </pc:spChg>
        <pc:spChg chg="mod">
          <ac:chgData name="Pauline Smout" userId="3153cd80-1eee-4546-abae-f15e9d00b721" providerId="ADAL" clId="{547B9B00-4707-4AC8-9FDE-BA0EA9194C65}" dt="2023-01-25T17:15:05.427" v="525"/>
          <ac:spMkLst>
            <pc:docMk/>
            <pc:sldMk cId="2328836022" sldId="287"/>
            <ac:spMk id="9" creationId="{75DEEE7B-3CB9-9A64-EFE6-AE37D9A0C615}"/>
          </ac:spMkLst>
        </pc:spChg>
        <pc:spChg chg="add del mod">
          <ac:chgData name="Pauline Smout" userId="3153cd80-1eee-4546-abae-f15e9d00b721" providerId="ADAL" clId="{547B9B00-4707-4AC8-9FDE-BA0EA9194C65}" dt="2023-01-23T08:59:29.603" v="65" actId="478"/>
          <ac:spMkLst>
            <pc:docMk/>
            <pc:sldMk cId="2328836022" sldId="287"/>
            <ac:spMk id="10" creationId="{104CAD22-3AC7-E3F5-A7F2-83F864B2E2DE}"/>
          </ac:spMkLst>
        </pc:spChg>
        <pc:spChg chg="mod">
          <ac:chgData name="Pauline Smout" userId="3153cd80-1eee-4546-abae-f15e9d00b721" providerId="ADAL" clId="{547B9B00-4707-4AC8-9FDE-BA0EA9194C65}" dt="2023-01-25T17:15:05.427" v="525"/>
          <ac:spMkLst>
            <pc:docMk/>
            <pc:sldMk cId="2328836022" sldId="287"/>
            <ac:spMk id="10" creationId="{BC66A5E1-AEC9-6C66-C902-73BEBA1BA114}"/>
          </ac:spMkLst>
        </pc:spChg>
        <pc:spChg chg="add mod">
          <ac:chgData name="Pauline Smout" userId="3153cd80-1eee-4546-abae-f15e9d00b721" providerId="ADAL" clId="{547B9B00-4707-4AC8-9FDE-BA0EA9194C65}" dt="2023-01-23T08:59:35.610" v="66"/>
          <ac:spMkLst>
            <pc:docMk/>
            <pc:sldMk cId="2328836022" sldId="287"/>
            <ac:spMk id="11" creationId="{1C82C60D-2E4A-7056-D798-10F11214D1C9}"/>
          </ac:spMkLst>
        </pc:spChg>
        <pc:spChg chg="mod">
          <ac:chgData name="Pauline Smout" userId="3153cd80-1eee-4546-abae-f15e9d00b721" providerId="ADAL" clId="{547B9B00-4707-4AC8-9FDE-BA0EA9194C65}" dt="2023-01-25T17:15:05.427" v="525"/>
          <ac:spMkLst>
            <pc:docMk/>
            <pc:sldMk cId="2328836022" sldId="287"/>
            <ac:spMk id="12" creationId="{5E775A00-728A-EFBF-3133-7FA5D211A88C}"/>
          </ac:spMkLst>
        </pc:spChg>
        <pc:spChg chg="mod">
          <ac:chgData name="Pauline Smout" userId="3153cd80-1eee-4546-abae-f15e9d00b721" providerId="ADAL" clId="{547B9B00-4707-4AC8-9FDE-BA0EA9194C65}" dt="2023-01-25T17:15:05.427" v="525"/>
          <ac:spMkLst>
            <pc:docMk/>
            <pc:sldMk cId="2328836022" sldId="287"/>
            <ac:spMk id="13" creationId="{676E23F3-7DBC-58A5-5998-C7E98C888D8D}"/>
          </ac:spMkLst>
        </pc:spChg>
        <pc:spChg chg="add del mod">
          <ac:chgData name="Pauline Smout" userId="3153cd80-1eee-4546-abae-f15e9d00b721" providerId="ADAL" clId="{547B9B00-4707-4AC8-9FDE-BA0EA9194C65}" dt="2023-01-23T09:42:02.263" v="183" actId="478"/>
          <ac:spMkLst>
            <pc:docMk/>
            <pc:sldMk cId="2328836022" sldId="287"/>
            <ac:spMk id="13" creationId="{9F028467-FD4F-8A50-4446-5F92919096F4}"/>
          </ac:spMkLst>
        </pc:spChg>
        <pc:spChg chg="mod">
          <ac:chgData name="Pauline Smout" userId="3153cd80-1eee-4546-abae-f15e9d00b721" providerId="ADAL" clId="{547B9B00-4707-4AC8-9FDE-BA0EA9194C65}" dt="2023-01-25T17:15:05.427" v="525"/>
          <ac:spMkLst>
            <pc:docMk/>
            <pc:sldMk cId="2328836022" sldId="287"/>
            <ac:spMk id="14" creationId="{B5907366-4B90-BBB2-C4C1-A553E3CDC87E}"/>
          </ac:spMkLst>
        </pc:spChg>
        <pc:spChg chg="add del mod">
          <ac:chgData name="Pauline Smout" userId="3153cd80-1eee-4546-abae-f15e9d00b721" providerId="ADAL" clId="{547B9B00-4707-4AC8-9FDE-BA0EA9194C65}" dt="2023-01-25T17:28:58.996" v="948" actId="21"/>
          <ac:spMkLst>
            <pc:docMk/>
            <pc:sldMk cId="2328836022" sldId="287"/>
            <ac:spMk id="15" creationId="{193C49E0-75DA-6633-2436-461E4F1F00E4}"/>
          </ac:spMkLst>
        </pc:spChg>
        <pc:spChg chg="add del mod">
          <ac:chgData name="Pauline Smout" userId="3153cd80-1eee-4546-abae-f15e9d00b721" providerId="ADAL" clId="{547B9B00-4707-4AC8-9FDE-BA0EA9194C65}" dt="2023-01-23T09:42:27.008" v="190" actId="478"/>
          <ac:spMkLst>
            <pc:docMk/>
            <pc:sldMk cId="2328836022" sldId="287"/>
            <ac:spMk id="15" creationId="{60D00360-F124-8670-DE2C-7937D93564EE}"/>
          </ac:spMkLst>
        </pc:spChg>
        <pc:spChg chg="add del mod">
          <ac:chgData name="Pauline Smout" userId="3153cd80-1eee-4546-abae-f15e9d00b721" providerId="ADAL" clId="{547B9B00-4707-4AC8-9FDE-BA0EA9194C65}" dt="2023-01-23T09:43:59.574" v="196" actId="478"/>
          <ac:spMkLst>
            <pc:docMk/>
            <pc:sldMk cId="2328836022" sldId="287"/>
            <ac:spMk id="16" creationId="{097DB0D3-92D8-5F6F-37F9-3D23F0F7BB63}"/>
          </ac:spMkLst>
        </pc:spChg>
        <pc:spChg chg="add del mod">
          <ac:chgData name="Pauline Smout" userId="3153cd80-1eee-4546-abae-f15e9d00b721" providerId="ADAL" clId="{547B9B00-4707-4AC8-9FDE-BA0EA9194C65}" dt="2023-01-25T17:28:58.996" v="948" actId="21"/>
          <ac:spMkLst>
            <pc:docMk/>
            <pc:sldMk cId="2328836022" sldId="287"/>
            <ac:spMk id="16" creationId="{91698712-6AB7-ED74-4C89-3BA0CA24A8B2}"/>
          </ac:spMkLst>
        </pc:spChg>
        <pc:spChg chg="add del mod">
          <ac:chgData name="Pauline Smout" userId="3153cd80-1eee-4546-abae-f15e9d00b721" providerId="ADAL" clId="{547B9B00-4707-4AC8-9FDE-BA0EA9194C65}" dt="2023-01-25T17:28:58.996" v="948" actId="21"/>
          <ac:spMkLst>
            <pc:docMk/>
            <pc:sldMk cId="2328836022" sldId="287"/>
            <ac:spMk id="17" creationId="{15AFCA8E-39CC-FCD1-15A4-48F9046C6C84}"/>
          </ac:spMkLst>
        </pc:spChg>
        <pc:spChg chg="add del mod">
          <ac:chgData name="Pauline Smout" userId="3153cd80-1eee-4546-abae-f15e9d00b721" providerId="ADAL" clId="{547B9B00-4707-4AC8-9FDE-BA0EA9194C65}" dt="2023-01-23T09:43:59.574" v="196" actId="478"/>
          <ac:spMkLst>
            <pc:docMk/>
            <pc:sldMk cId="2328836022" sldId="287"/>
            <ac:spMk id="17" creationId="{36EBCE62-6127-CF7F-1361-081CA4EB3AC0}"/>
          </ac:spMkLst>
        </pc:spChg>
        <pc:spChg chg="add del mod">
          <ac:chgData name="Pauline Smout" userId="3153cd80-1eee-4546-abae-f15e9d00b721" providerId="ADAL" clId="{547B9B00-4707-4AC8-9FDE-BA0EA9194C65}" dt="2023-01-23T09:43:59.574" v="196" actId="478"/>
          <ac:spMkLst>
            <pc:docMk/>
            <pc:sldMk cId="2328836022" sldId="287"/>
            <ac:spMk id="18" creationId="{33437F70-622D-A97B-A0F0-D8532BE3C281}"/>
          </ac:spMkLst>
        </pc:spChg>
        <pc:spChg chg="add del mod">
          <ac:chgData name="Pauline Smout" userId="3153cd80-1eee-4546-abae-f15e9d00b721" providerId="ADAL" clId="{547B9B00-4707-4AC8-9FDE-BA0EA9194C65}" dt="2023-01-25T17:28:58.996" v="948" actId="21"/>
          <ac:spMkLst>
            <pc:docMk/>
            <pc:sldMk cId="2328836022" sldId="287"/>
            <ac:spMk id="18" creationId="{351BCA58-5371-6E1A-7249-25F139D0BA67}"/>
          </ac:spMkLst>
        </pc:spChg>
        <pc:spChg chg="add del mod">
          <ac:chgData name="Pauline Smout" userId="3153cd80-1eee-4546-abae-f15e9d00b721" providerId="ADAL" clId="{547B9B00-4707-4AC8-9FDE-BA0EA9194C65}" dt="2023-01-23T09:43:59.574" v="196" actId="478"/>
          <ac:spMkLst>
            <pc:docMk/>
            <pc:sldMk cId="2328836022" sldId="287"/>
            <ac:spMk id="19" creationId="{29DB682A-91C4-793D-ACBA-2B58C4521F9B}"/>
          </ac:spMkLst>
        </pc:spChg>
        <pc:spChg chg="add del mod">
          <ac:chgData name="Pauline Smout" userId="3153cd80-1eee-4546-abae-f15e9d00b721" providerId="ADAL" clId="{547B9B00-4707-4AC8-9FDE-BA0EA9194C65}" dt="2023-01-25T17:26:22.917" v="930" actId="478"/>
          <ac:spMkLst>
            <pc:docMk/>
            <pc:sldMk cId="2328836022" sldId="287"/>
            <ac:spMk id="19" creationId="{EF0353EA-167F-7BF2-9C71-407F1635D32C}"/>
          </ac:spMkLst>
        </pc:spChg>
        <pc:spChg chg="add del mod">
          <ac:chgData name="Pauline Smout" userId="3153cd80-1eee-4546-abae-f15e9d00b721" providerId="ADAL" clId="{547B9B00-4707-4AC8-9FDE-BA0EA9194C65}" dt="2023-01-25T17:20:01.895" v="895" actId="478"/>
          <ac:spMkLst>
            <pc:docMk/>
            <pc:sldMk cId="2328836022" sldId="287"/>
            <ac:spMk id="20" creationId="{58CAA36A-6EE7-5340-C7FD-95FCD0B465A8}"/>
          </ac:spMkLst>
        </pc:spChg>
        <pc:spChg chg="add del mod">
          <ac:chgData name="Pauline Smout" userId="3153cd80-1eee-4546-abae-f15e9d00b721" providerId="ADAL" clId="{547B9B00-4707-4AC8-9FDE-BA0EA9194C65}" dt="2023-01-25T17:20:01.895" v="895" actId="478"/>
          <ac:spMkLst>
            <pc:docMk/>
            <pc:sldMk cId="2328836022" sldId="287"/>
            <ac:spMk id="21" creationId="{7D515AB8-B8B8-B2D4-9946-B086FFF133E6}"/>
          </ac:spMkLst>
        </pc:spChg>
        <pc:spChg chg="add del mod">
          <ac:chgData name="Pauline Smout" userId="3153cd80-1eee-4546-abae-f15e9d00b721" providerId="ADAL" clId="{547B9B00-4707-4AC8-9FDE-BA0EA9194C65}" dt="2023-01-25T17:20:01.895" v="895" actId="478"/>
          <ac:spMkLst>
            <pc:docMk/>
            <pc:sldMk cId="2328836022" sldId="287"/>
            <ac:spMk id="22" creationId="{39D45E32-BEE5-6ADD-3E77-2254F7E67D1A}"/>
          </ac:spMkLst>
        </pc:spChg>
        <pc:spChg chg="add del mod">
          <ac:chgData name="Pauline Smout" userId="3153cd80-1eee-4546-abae-f15e9d00b721" providerId="ADAL" clId="{547B9B00-4707-4AC8-9FDE-BA0EA9194C65}" dt="2023-01-25T17:20:01.895" v="895" actId="478"/>
          <ac:spMkLst>
            <pc:docMk/>
            <pc:sldMk cId="2328836022" sldId="287"/>
            <ac:spMk id="23" creationId="{26B69764-4E48-EAC5-2154-DCD9D15C2326}"/>
          </ac:spMkLst>
        </pc:spChg>
        <pc:spChg chg="add del mod">
          <ac:chgData name="Pauline Smout" userId="3153cd80-1eee-4546-abae-f15e9d00b721" providerId="ADAL" clId="{547B9B00-4707-4AC8-9FDE-BA0EA9194C65}" dt="2023-01-25T17:20:01.895" v="895" actId="478"/>
          <ac:spMkLst>
            <pc:docMk/>
            <pc:sldMk cId="2328836022" sldId="287"/>
            <ac:spMk id="24" creationId="{D1749854-0830-CD38-389C-3E685293C48B}"/>
          </ac:spMkLst>
        </pc:spChg>
        <pc:spChg chg="add del mod">
          <ac:chgData name="Pauline Smout" userId="3153cd80-1eee-4546-abae-f15e9d00b721" providerId="ADAL" clId="{547B9B00-4707-4AC8-9FDE-BA0EA9194C65}" dt="2023-01-25T17:20:01.895" v="895" actId="478"/>
          <ac:spMkLst>
            <pc:docMk/>
            <pc:sldMk cId="2328836022" sldId="287"/>
            <ac:spMk id="25" creationId="{3B926599-6D83-6C49-43EF-DEC7C112A7BA}"/>
          </ac:spMkLst>
        </pc:spChg>
        <pc:spChg chg="add del mod">
          <ac:chgData name="Pauline Smout" userId="3153cd80-1eee-4546-abae-f15e9d00b721" providerId="ADAL" clId="{547B9B00-4707-4AC8-9FDE-BA0EA9194C65}" dt="2023-01-23T09:43:59.574" v="196" actId="478"/>
          <ac:spMkLst>
            <pc:docMk/>
            <pc:sldMk cId="2328836022" sldId="287"/>
            <ac:spMk id="26" creationId="{A7837608-E61D-2FEC-F914-672EB5250765}"/>
          </ac:spMkLst>
        </pc:spChg>
        <pc:spChg chg="add del mod">
          <ac:chgData name="Pauline Smout" userId="3153cd80-1eee-4546-abae-f15e9d00b721" providerId="ADAL" clId="{547B9B00-4707-4AC8-9FDE-BA0EA9194C65}" dt="2023-01-25T18:26:38.950" v="1466"/>
          <ac:spMkLst>
            <pc:docMk/>
            <pc:sldMk cId="2328836022" sldId="287"/>
            <ac:spMk id="26" creationId="{FCF6DFD0-6FF7-87A6-A70C-AECAF1D26947}"/>
          </ac:spMkLst>
        </pc:spChg>
        <pc:spChg chg="add del mod">
          <ac:chgData name="Pauline Smout" userId="3153cd80-1eee-4546-abae-f15e9d00b721" providerId="ADAL" clId="{547B9B00-4707-4AC8-9FDE-BA0EA9194C65}" dt="2023-01-26T11:26:30.881" v="3254" actId="21"/>
          <ac:spMkLst>
            <pc:docMk/>
            <pc:sldMk cId="2328836022" sldId="287"/>
            <ac:spMk id="27" creationId="{F674837F-E046-5247-24EF-FD714575E439}"/>
          </ac:spMkLst>
        </pc:spChg>
        <pc:spChg chg="add del mod">
          <ac:chgData name="Pauline Smout" userId="3153cd80-1eee-4546-abae-f15e9d00b721" providerId="ADAL" clId="{547B9B00-4707-4AC8-9FDE-BA0EA9194C65}" dt="2023-01-23T09:43:59.574" v="196" actId="478"/>
          <ac:spMkLst>
            <pc:docMk/>
            <pc:sldMk cId="2328836022" sldId="287"/>
            <ac:spMk id="27" creationId="{F7B2DD56-E151-4579-C2EA-FE488E03BBF5}"/>
          </ac:spMkLst>
        </pc:spChg>
        <pc:spChg chg="add del mod">
          <ac:chgData name="Pauline Smout" userId="3153cd80-1eee-4546-abae-f15e9d00b721" providerId="ADAL" clId="{547B9B00-4707-4AC8-9FDE-BA0EA9194C65}" dt="2023-01-23T09:43:59.574" v="196" actId="478"/>
          <ac:spMkLst>
            <pc:docMk/>
            <pc:sldMk cId="2328836022" sldId="287"/>
            <ac:spMk id="28" creationId="{8E7F11F9-90C7-209A-67D5-956EE65BBA07}"/>
          </ac:spMkLst>
        </pc:spChg>
        <pc:spChg chg="add del mod">
          <ac:chgData name="Pauline Smout" userId="3153cd80-1eee-4546-abae-f15e9d00b721" providerId="ADAL" clId="{547B9B00-4707-4AC8-9FDE-BA0EA9194C65}" dt="2023-01-23T09:43:59.574" v="196" actId="478"/>
          <ac:spMkLst>
            <pc:docMk/>
            <pc:sldMk cId="2328836022" sldId="287"/>
            <ac:spMk id="29" creationId="{41A5FB0C-DB41-0CAB-EB82-85E560A2E6A9}"/>
          </ac:spMkLst>
        </pc:spChg>
        <pc:spChg chg="add del mod">
          <ac:chgData name="Pauline Smout" userId="3153cd80-1eee-4546-abae-f15e9d00b721" providerId="ADAL" clId="{547B9B00-4707-4AC8-9FDE-BA0EA9194C65}" dt="2023-01-23T09:43:59.574" v="196" actId="478"/>
          <ac:spMkLst>
            <pc:docMk/>
            <pc:sldMk cId="2328836022" sldId="287"/>
            <ac:spMk id="30" creationId="{51647582-C113-D04C-A736-C6BE5EA3F5D6}"/>
          </ac:spMkLst>
        </pc:spChg>
        <pc:spChg chg="add del mod">
          <ac:chgData name="Pauline Smout" userId="3153cd80-1eee-4546-abae-f15e9d00b721" providerId="ADAL" clId="{547B9B00-4707-4AC8-9FDE-BA0EA9194C65}" dt="2023-01-23T09:43:59.574" v="196" actId="478"/>
          <ac:spMkLst>
            <pc:docMk/>
            <pc:sldMk cId="2328836022" sldId="287"/>
            <ac:spMk id="31" creationId="{4D519E33-41AE-6AC2-394B-F7B78A56E697}"/>
          </ac:spMkLst>
        </pc:spChg>
        <pc:spChg chg="add del mod">
          <ac:chgData name="Pauline Smout" userId="3153cd80-1eee-4546-abae-f15e9d00b721" providerId="ADAL" clId="{547B9B00-4707-4AC8-9FDE-BA0EA9194C65}" dt="2023-01-23T09:43:59.574" v="196" actId="478"/>
          <ac:spMkLst>
            <pc:docMk/>
            <pc:sldMk cId="2328836022" sldId="287"/>
            <ac:spMk id="32" creationId="{2BFDCDB8-1DF5-BA3B-6C9B-B8355CC5B142}"/>
          </ac:spMkLst>
        </pc:spChg>
        <pc:spChg chg="add del mod">
          <ac:chgData name="Pauline Smout" userId="3153cd80-1eee-4546-abae-f15e9d00b721" providerId="ADAL" clId="{547B9B00-4707-4AC8-9FDE-BA0EA9194C65}" dt="2023-01-23T09:43:59.574" v="196" actId="478"/>
          <ac:spMkLst>
            <pc:docMk/>
            <pc:sldMk cId="2328836022" sldId="287"/>
            <ac:spMk id="33" creationId="{E6880E5B-EB66-E0B4-F58D-73C03DDEE966}"/>
          </ac:spMkLst>
        </pc:spChg>
        <pc:spChg chg="add del mod">
          <ac:chgData name="Pauline Smout" userId="3153cd80-1eee-4546-abae-f15e9d00b721" providerId="ADAL" clId="{547B9B00-4707-4AC8-9FDE-BA0EA9194C65}" dt="2023-01-23T09:43:59.574" v="196" actId="478"/>
          <ac:spMkLst>
            <pc:docMk/>
            <pc:sldMk cId="2328836022" sldId="287"/>
            <ac:spMk id="34" creationId="{B305D943-DEF6-CE71-3D77-DBE230903F28}"/>
          </ac:spMkLst>
        </pc:spChg>
        <pc:spChg chg="add del mod">
          <ac:chgData name="Pauline Smout" userId="3153cd80-1eee-4546-abae-f15e9d00b721" providerId="ADAL" clId="{547B9B00-4707-4AC8-9FDE-BA0EA9194C65}" dt="2023-01-23T09:43:59.574" v="196" actId="478"/>
          <ac:spMkLst>
            <pc:docMk/>
            <pc:sldMk cId="2328836022" sldId="287"/>
            <ac:spMk id="35" creationId="{D69A9A0F-391D-41E3-A108-55C0F74B94D1}"/>
          </ac:spMkLst>
        </pc:spChg>
        <pc:spChg chg="add del mod">
          <ac:chgData name="Pauline Smout" userId="3153cd80-1eee-4546-abae-f15e9d00b721" providerId="ADAL" clId="{547B9B00-4707-4AC8-9FDE-BA0EA9194C65}" dt="2023-01-23T09:43:59.574" v="196" actId="478"/>
          <ac:spMkLst>
            <pc:docMk/>
            <pc:sldMk cId="2328836022" sldId="287"/>
            <ac:spMk id="36" creationId="{1003F632-A973-C3D6-89F3-5D23588C4346}"/>
          </ac:spMkLst>
        </pc:spChg>
        <pc:spChg chg="add del mod">
          <ac:chgData name="Pauline Smout" userId="3153cd80-1eee-4546-abae-f15e9d00b721" providerId="ADAL" clId="{547B9B00-4707-4AC8-9FDE-BA0EA9194C65}" dt="2023-01-23T09:43:59.574" v="196" actId="478"/>
          <ac:spMkLst>
            <pc:docMk/>
            <pc:sldMk cId="2328836022" sldId="287"/>
            <ac:spMk id="37" creationId="{3445D545-B807-C7E6-62E1-762866861362}"/>
          </ac:spMkLst>
        </pc:spChg>
        <pc:spChg chg="add del mod">
          <ac:chgData name="Pauline Smout" userId="3153cd80-1eee-4546-abae-f15e9d00b721" providerId="ADAL" clId="{547B9B00-4707-4AC8-9FDE-BA0EA9194C65}" dt="2023-01-23T09:43:59.574" v="196" actId="478"/>
          <ac:spMkLst>
            <pc:docMk/>
            <pc:sldMk cId="2328836022" sldId="287"/>
            <ac:spMk id="38" creationId="{FE29A734-98C1-E0DE-E563-32F371BFA72D}"/>
          </ac:spMkLst>
        </pc:spChg>
        <pc:spChg chg="add del mod">
          <ac:chgData name="Pauline Smout" userId="3153cd80-1eee-4546-abae-f15e9d00b721" providerId="ADAL" clId="{547B9B00-4707-4AC8-9FDE-BA0EA9194C65}" dt="2023-01-23T09:43:59.574" v="196" actId="478"/>
          <ac:spMkLst>
            <pc:docMk/>
            <pc:sldMk cId="2328836022" sldId="287"/>
            <ac:spMk id="39" creationId="{3955DD83-65D8-13F7-F186-1E3537FE4B20}"/>
          </ac:spMkLst>
        </pc:spChg>
        <pc:spChg chg="add del mod">
          <ac:chgData name="Pauline Smout" userId="3153cd80-1eee-4546-abae-f15e9d00b721" providerId="ADAL" clId="{547B9B00-4707-4AC8-9FDE-BA0EA9194C65}" dt="2023-01-23T09:43:59.574" v="196" actId="478"/>
          <ac:spMkLst>
            <pc:docMk/>
            <pc:sldMk cId="2328836022" sldId="287"/>
            <ac:spMk id="40" creationId="{0C76A91E-1131-18B7-3035-D53AE8227B44}"/>
          </ac:spMkLst>
        </pc:spChg>
        <pc:spChg chg="add del mod">
          <ac:chgData name="Pauline Smout" userId="3153cd80-1eee-4546-abae-f15e9d00b721" providerId="ADAL" clId="{547B9B00-4707-4AC8-9FDE-BA0EA9194C65}" dt="2023-01-23T09:43:59.574" v="196" actId="478"/>
          <ac:spMkLst>
            <pc:docMk/>
            <pc:sldMk cId="2328836022" sldId="287"/>
            <ac:spMk id="41" creationId="{A6B2F13D-7BC3-6DD1-9E27-B78ADCCEB9E9}"/>
          </ac:spMkLst>
        </pc:spChg>
        <pc:spChg chg="add del mod">
          <ac:chgData name="Pauline Smout" userId="3153cd80-1eee-4546-abae-f15e9d00b721" providerId="ADAL" clId="{547B9B00-4707-4AC8-9FDE-BA0EA9194C65}" dt="2023-01-23T09:43:59.574" v="196" actId="478"/>
          <ac:spMkLst>
            <pc:docMk/>
            <pc:sldMk cId="2328836022" sldId="287"/>
            <ac:spMk id="42" creationId="{B156A7EA-8BC4-E181-C4DA-94AF4CA009F2}"/>
          </ac:spMkLst>
        </pc:spChg>
        <pc:spChg chg="add del mod">
          <ac:chgData name="Pauline Smout" userId="3153cd80-1eee-4546-abae-f15e9d00b721" providerId="ADAL" clId="{547B9B00-4707-4AC8-9FDE-BA0EA9194C65}" dt="2023-01-23T09:43:59.574" v="196" actId="478"/>
          <ac:spMkLst>
            <pc:docMk/>
            <pc:sldMk cId="2328836022" sldId="287"/>
            <ac:spMk id="43" creationId="{8C0C471D-8F43-FBC3-39ED-468C3E007933}"/>
          </ac:spMkLst>
        </pc:spChg>
        <pc:spChg chg="add del mod">
          <ac:chgData name="Pauline Smout" userId="3153cd80-1eee-4546-abae-f15e9d00b721" providerId="ADAL" clId="{547B9B00-4707-4AC8-9FDE-BA0EA9194C65}" dt="2023-01-23T09:43:59.574" v="196" actId="478"/>
          <ac:spMkLst>
            <pc:docMk/>
            <pc:sldMk cId="2328836022" sldId="287"/>
            <ac:spMk id="44" creationId="{167CF850-0314-421A-3C7A-6FC94AED1BFB}"/>
          </ac:spMkLst>
        </pc:spChg>
        <pc:spChg chg="add del mod">
          <ac:chgData name="Pauline Smout" userId="3153cd80-1eee-4546-abae-f15e9d00b721" providerId="ADAL" clId="{547B9B00-4707-4AC8-9FDE-BA0EA9194C65}" dt="2023-01-23T09:43:59.574" v="196" actId="478"/>
          <ac:spMkLst>
            <pc:docMk/>
            <pc:sldMk cId="2328836022" sldId="287"/>
            <ac:spMk id="45" creationId="{284FF5FC-567B-4094-593D-47E1288AD780}"/>
          </ac:spMkLst>
        </pc:spChg>
        <pc:spChg chg="add del mod">
          <ac:chgData name="Pauline Smout" userId="3153cd80-1eee-4546-abae-f15e9d00b721" providerId="ADAL" clId="{547B9B00-4707-4AC8-9FDE-BA0EA9194C65}" dt="2023-01-23T09:44:00.995" v="197" actId="478"/>
          <ac:spMkLst>
            <pc:docMk/>
            <pc:sldMk cId="2328836022" sldId="287"/>
            <ac:spMk id="46" creationId="{C791136B-7FE6-1661-3671-D1AD5BE119E9}"/>
          </ac:spMkLst>
        </pc:spChg>
        <pc:spChg chg="add del mod">
          <ac:chgData name="Pauline Smout" userId="3153cd80-1eee-4546-abae-f15e9d00b721" providerId="ADAL" clId="{547B9B00-4707-4AC8-9FDE-BA0EA9194C65}" dt="2023-01-23T09:44:13.561" v="199"/>
          <ac:spMkLst>
            <pc:docMk/>
            <pc:sldMk cId="2328836022" sldId="287"/>
            <ac:spMk id="47" creationId="{858A8836-AE12-11B4-0CC2-13841789FD0D}"/>
          </ac:spMkLst>
        </pc:spChg>
        <pc:spChg chg="add del mod">
          <ac:chgData name="Pauline Smout" userId="3153cd80-1eee-4546-abae-f15e9d00b721" providerId="ADAL" clId="{547B9B00-4707-4AC8-9FDE-BA0EA9194C65}" dt="2023-01-23T09:44:13.561" v="199"/>
          <ac:spMkLst>
            <pc:docMk/>
            <pc:sldMk cId="2328836022" sldId="287"/>
            <ac:spMk id="48" creationId="{34F1322B-AFC2-0F25-CF93-EE3CE3A8FC23}"/>
          </ac:spMkLst>
        </pc:spChg>
        <pc:spChg chg="add del mod">
          <ac:chgData name="Pauline Smout" userId="3153cd80-1eee-4546-abae-f15e9d00b721" providerId="ADAL" clId="{547B9B00-4707-4AC8-9FDE-BA0EA9194C65}" dt="2023-01-23T09:44:13.561" v="199"/>
          <ac:spMkLst>
            <pc:docMk/>
            <pc:sldMk cId="2328836022" sldId="287"/>
            <ac:spMk id="49" creationId="{6CAC2636-422E-2872-BDE9-5AE37BB15D0B}"/>
          </ac:spMkLst>
        </pc:spChg>
        <pc:spChg chg="add del mod">
          <ac:chgData name="Pauline Smout" userId="3153cd80-1eee-4546-abae-f15e9d00b721" providerId="ADAL" clId="{547B9B00-4707-4AC8-9FDE-BA0EA9194C65}" dt="2023-01-23T09:44:13.561" v="199"/>
          <ac:spMkLst>
            <pc:docMk/>
            <pc:sldMk cId="2328836022" sldId="287"/>
            <ac:spMk id="50" creationId="{916FDE90-638E-C874-C7EC-8CA541E31C1A}"/>
          </ac:spMkLst>
        </pc:spChg>
        <pc:spChg chg="add del mod">
          <ac:chgData name="Pauline Smout" userId="3153cd80-1eee-4546-abae-f15e9d00b721" providerId="ADAL" clId="{547B9B00-4707-4AC8-9FDE-BA0EA9194C65}" dt="2023-01-23T09:44:13.561" v="199"/>
          <ac:spMkLst>
            <pc:docMk/>
            <pc:sldMk cId="2328836022" sldId="287"/>
            <ac:spMk id="51" creationId="{ADBD2A27-BA7B-B374-02E0-42A98572A7AD}"/>
          </ac:spMkLst>
        </pc:spChg>
        <pc:spChg chg="add del mod">
          <ac:chgData name="Pauline Smout" userId="3153cd80-1eee-4546-abae-f15e9d00b721" providerId="ADAL" clId="{547B9B00-4707-4AC8-9FDE-BA0EA9194C65}" dt="2023-01-23T09:44:13.561" v="199"/>
          <ac:spMkLst>
            <pc:docMk/>
            <pc:sldMk cId="2328836022" sldId="287"/>
            <ac:spMk id="52" creationId="{FEB599C2-866A-801D-6D27-B0FD67F279A3}"/>
          </ac:spMkLst>
        </pc:spChg>
        <pc:spChg chg="add del mod">
          <ac:chgData name="Pauline Smout" userId="3153cd80-1eee-4546-abae-f15e9d00b721" providerId="ADAL" clId="{547B9B00-4707-4AC8-9FDE-BA0EA9194C65}" dt="2023-01-23T09:44:13.561" v="199"/>
          <ac:spMkLst>
            <pc:docMk/>
            <pc:sldMk cId="2328836022" sldId="287"/>
            <ac:spMk id="53" creationId="{54AFEC07-E5B4-F4F2-72C9-CF391B44CF65}"/>
          </ac:spMkLst>
        </pc:spChg>
        <pc:spChg chg="add del mod">
          <ac:chgData name="Pauline Smout" userId="3153cd80-1eee-4546-abae-f15e9d00b721" providerId="ADAL" clId="{547B9B00-4707-4AC8-9FDE-BA0EA9194C65}" dt="2023-01-23T09:44:13.561" v="199"/>
          <ac:spMkLst>
            <pc:docMk/>
            <pc:sldMk cId="2328836022" sldId="287"/>
            <ac:spMk id="54" creationId="{F8E1E650-E390-8F7A-0094-2FDCDB6E7C90}"/>
          </ac:spMkLst>
        </pc:spChg>
        <pc:spChg chg="add del mod">
          <ac:chgData name="Pauline Smout" userId="3153cd80-1eee-4546-abae-f15e9d00b721" providerId="ADAL" clId="{547B9B00-4707-4AC8-9FDE-BA0EA9194C65}" dt="2023-01-23T09:44:13.561" v="199"/>
          <ac:spMkLst>
            <pc:docMk/>
            <pc:sldMk cId="2328836022" sldId="287"/>
            <ac:spMk id="55" creationId="{17B93BD9-A946-5C58-1AB2-9B83E3811CBB}"/>
          </ac:spMkLst>
        </pc:spChg>
        <pc:spChg chg="add del mod">
          <ac:chgData name="Pauline Smout" userId="3153cd80-1eee-4546-abae-f15e9d00b721" providerId="ADAL" clId="{547B9B00-4707-4AC8-9FDE-BA0EA9194C65}" dt="2023-01-23T09:44:13.561" v="199"/>
          <ac:spMkLst>
            <pc:docMk/>
            <pc:sldMk cId="2328836022" sldId="287"/>
            <ac:spMk id="56" creationId="{894149FB-4320-BD70-C836-E0FC01EBD75C}"/>
          </ac:spMkLst>
        </pc:spChg>
        <pc:spChg chg="add del mod">
          <ac:chgData name="Pauline Smout" userId="3153cd80-1eee-4546-abae-f15e9d00b721" providerId="ADAL" clId="{547B9B00-4707-4AC8-9FDE-BA0EA9194C65}" dt="2023-01-23T09:44:13.561" v="199"/>
          <ac:spMkLst>
            <pc:docMk/>
            <pc:sldMk cId="2328836022" sldId="287"/>
            <ac:spMk id="57" creationId="{EBD03334-752B-5C76-15BB-4D922E2422AC}"/>
          </ac:spMkLst>
        </pc:spChg>
        <pc:spChg chg="add del mod">
          <ac:chgData name="Pauline Smout" userId="3153cd80-1eee-4546-abae-f15e9d00b721" providerId="ADAL" clId="{547B9B00-4707-4AC8-9FDE-BA0EA9194C65}" dt="2023-01-23T09:44:13.561" v="199"/>
          <ac:spMkLst>
            <pc:docMk/>
            <pc:sldMk cId="2328836022" sldId="287"/>
            <ac:spMk id="58" creationId="{EA818982-9D62-FD7D-A78A-FC78857F5328}"/>
          </ac:spMkLst>
        </pc:spChg>
        <pc:spChg chg="add del mod">
          <ac:chgData name="Pauline Smout" userId="3153cd80-1eee-4546-abae-f15e9d00b721" providerId="ADAL" clId="{547B9B00-4707-4AC8-9FDE-BA0EA9194C65}" dt="2023-01-23T09:44:13.561" v="199"/>
          <ac:spMkLst>
            <pc:docMk/>
            <pc:sldMk cId="2328836022" sldId="287"/>
            <ac:spMk id="59" creationId="{C09772FB-CFF3-39C7-01A4-9CEF14B6DF3B}"/>
          </ac:spMkLst>
        </pc:spChg>
        <pc:spChg chg="add del mod">
          <ac:chgData name="Pauline Smout" userId="3153cd80-1eee-4546-abae-f15e9d00b721" providerId="ADAL" clId="{547B9B00-4707-4AC8-9FDE-BA0EA9194C65}" dt="2023-01-23T09:44:13.561" v="199"/>
          <ac:spMkLst>
            <pc:docMk/>
            <pc:sldMk cId="2328836022" sldId="287"/>
            <ac:spMk id="60" creationId="{721A43FD-F7C6-C1EA-3E99-5B4C7E06AA71}"/>
          </ac:spMkLst>
        </pc:spChg>
        <pc:spChg chg="add del mod">
          <ac:chgData name="Pauline Smout" userId="3153cd80-1eee-4546-abae-f15e9d00b721" providerId="ADAL" clId="{547B9B00-4707-4AC8-9FDE-BA0EA9194C65}" dt="2023-01-23T09:44:13.561" v="199"/>
          <ac:spMkLst>
            <pc:docMk/>
            <pc:sldMk cId="2328836022" sldId="287"/>
            <ac:spMk id="61" creationId="{274769C9-992F-C146-C780-855D1526536E}"/>
          </ac:spMkLst>
        </pc:spChg>
        <pc:spChg chg="add del mod">
          <ac:chgData name="Pauline Smout" userId="3153cd80-1eee-4546-abae-f15e9d00b721" providerId="ADAL" clId="{547B9B00-4707-4AC8-9FDE-BA0EA9194C65}" dt="2023-01-23T09:44:13.561" v="199"/>
          <ac:spMkLst>
            <pc:docMk/>
            <pc:sldMk cId="2328836022" sldId="287"/>
            <ac:spMk id="62" creationId="{0ED1A71D-852B-B7A1-D429-BF6D16E3507A}"/>
          </ac:spMkLst>
        </pc:spChg>
        <pc:spChg chg="add del mod">
          <ac:chgData name="Pauline Smout" userId="3153cd80-1eee-4546-abae-f15e9d00b721" providerId="ADAL" clId="{547B9B00-4707-4AC8-9FDE-BA0EA9194C65}" dt="2023-01-23T09:44:13.561" v="199"/>
          <ac:spMkLst>
            <pc:docMk/>
            <pc:sldMk cId="2328836022" sldId="287"/>
            <ac:spMk id="63" creationId="{B06DABFC-1F64-A8B1-823A-7A61BAA46FB5}"/>
          </ac:spMkLst>
        </pc:spChg>
        <pc:spChg chg="add del mod">
          <ac:chgData name="Pauline Smout" userId="3153cd80-1eee-4546-abae-f15e9d00b721" providerId="ADAL" clId="{547B9B00-4707-4AC8-9FDE-BA0EA9194C65}" dt="2023-01-23T09:44:13.561" v="199"/>
          <ac:spMkLst>
            <pc:docMk/>
            <pc:sldMk cId="2328836022" sldId="287"/>
            <ac:spMk id="64" creationId="{F63BA54F-BB50-C5E5-1D2A-EAFF9B22BE1D}"/>
          </ac:spMkLst>
        </pc:spChg>
        <pc:spChg chg="add del mod">
          <ac:chgData name="Pauline Smout" userId="3153cd80-1eee-4546-abae-f15e9d00b721" providerId="ADAL" clId="{547B9B00-4707-4AC8-9FDE-BA0EA9194C65}" dt="2023-01-23T09:44:13.561" v="199"/>
          <ac:spMkLst>
            <pc:docMk/>
            <pc:sldMk cId="2328836022" sldId="287"/>
            <ac:spMk id="65" creationId="{0BFE76CE-A9D3-2A48-AAD4-5E7D5FDB3061}"/>
          </ac:spMkLst>
        </pc:spChg>
        <pc:spChg chg="add del mod">
          <ac:chgData name="Pauline Smout" userId="3153cd80-1eee-4546-abae-f15e9d00b721" providerId="ADAL" clId="{547B9B00-4707-4AC8-9FDE-BA0EA9194C65}" dt="2023-01-23T09:44:13.561" v="199"/>
          <ac:spMkLst>
            <pc:docMk/>
            <pc:sldMk cId="2328836022" sldId="287"/>
            <ac:spMk id="66" creationId="{E584B0A5-0139-6153-00CB-34324DA9EB6C}"/>
          </ac:spMkLst>
        </pc:spChg>
        <pc:spChg chg="add del mod">
          <ac:chgData name="Pauline Smout" userId="3153cd80-1eee-4546-abae-f15e9d00b721" providerId="ADAL" clId="{547B9B00-4707-4AC8-9FDE-BA0EA9194C65}" dt="2023-01-23T09:44:13.561" v="199"/>
          <ac:spMkLst>
            <pc:docMk/>
            <pc:sldMk cId="2328836022" sldId="287"/>
            <ac:spMk id="67" creationId="{25B865DF-5865-1853-56AB-1C6B7A9DF21E}"/>
          </ac:spMkLst>
        </pc:spChg>
        <pc:spChg chg="add del mod">
          <ac:chgData name="Pauline Smout" userId="3153cd80-1eee-4546-abae-f15e9d00b721" providerId="ADAL" clId="{547B9B00-4707-4AC8-9FDE-BA0EA9194C65}" dt="2023-01-23T09:44:13.561" v="199"/>
          <ac:spMkLst>
            <pc:docMk/>
            <pc:sldMk cId="2328836022" sldId="287"/>
            <ac:spMk id="68" creationId="{3CBA14F0-EABA-D93D-8F64-91EDE4BEB7C8}"/>
          </ac:spMkLst>
        </pc:spChg>
        <pc:spChg chg="add del mod">
          <ac:chgData name="Pauline Smout" userId="3153cd80-1eee-4546-abae-f15e9d00b721" providerId="ADAL" clId="{547B9B00-4707-4AC8-9FDE-BA0EA9194C65}" dt="2023-01-23T09:44:13.561" v="199"/>
          <ac:spMkLst>
            <pc:docMk/>
            <pc:sldMk cId="2328836022" sldId="287"/>
            <ac:spMk id="69" creationId="{257E8BAD-76AB-ACBB-2F69-402FB98B0C62}"/>
          </ac:spMkLst>
        </pc:spChg>
        <pc:spChg chg="add del mod">
          <ac:chgData name="Pauline Smout" userId="3153cd80-1eee-4546-abae-f15e9d00b721" providerId="ADAL" clId="{547B9B00-4707-4AC8-9FDE-BA0EA9194C65}" dt="2023-01-23T09:44:13.561" v="199"/>
          <ac:spMkLst>
            <pc:docMk/>
            <pc:sldMk cId="2328836022" sldId="287"/>
            <ac:spMk id="70" creationId="{1EE7D462-2438-7EB9-6886-1BE7432FDDE2}"/>
          </ac:spMkLst>
        </pc:spChg>
        <pc:spChg chg="add del mod">
          <ac:chgData name="Pauline Smout" userId="3153cd80-1eee-4546-abae-f15e9d00b721" providerId="ADAL" clId="{547B9B00-4707-4AC8-9FDE-BA0EA9194C65}" dt="2023-01-23T09:44:13.561" v="199"/>
          <ac:spMkLst>
            <pc:docMk/>
            <pc:sldMk cId="2328836022" sldId="287"/>
            <ac:spMk id="71" creationId="{B79D054E-A89A-E21B-152B-3067B852CDDF}"/>
          </ac:spMkLst>
        </pc:spChg>
        <pc:spChg chg="add del mod">
          <ac:chgData name="Pauline Smout" userId="3153cd80-1eee-4546-abae-f15e9d00b721" providerId="ADAL" clId="{547B9B00-4707-4AC8-9FDE-BA0EA9194C65}" dt="2023-01-25T17:20:01.895" v="895" actId="478"/>
          <ac:spMkLst>
            <pc:docMk/>
            <pc:sldMk cId="2328836022" sldId="287"/>
            <ac:spMk id="72" creationId="{660A9320-0573-B292-8BF6-7AE644C9C2B8}"/>
          </ac:spMkLst>
        </pc:spChg>
        <pc:spChg chg="add del mod">
          <ac:chgData name="Pauline Smout" userId="3153cd80-1eee-4546-abae-f15e9d00b721" providerId="ADAL" clId="{547B9B00-4707-4AC8-9FDE-BA0EA9194C65}" dt="2023-01-25T17:20:01.895" v="895" actId="478"/>
          <ac:spMkLst>
            <pc:docMk/>
            <pc:sldMk cId="2328836022" sldId="287"/>
            <ac:spMk id="73" creationId="{4EACF7B1-1307-D2FC-E533-EF1A5244329C}"/>
          </ac:spMkLst>
        </pc:spChg>
        <pc:spChg chg="add del mod">
          <ac:chgData name="Pauline Smout" userId="3153cd80-1eee-4546-abae-f15e9d00b721" providerId="ADAL" clId="{547B9B00-4707-4AC8-9FDE-BA0EA9194C65}" dt="2023-01-25T17:20:01.895" v="895" actId="478"/>
          <ac:spMkLst>
            <pc:docMk/>
            <pc:sldMk cId="2328836022" sldId="287"/>
            <ac:spMk id="74" creationId="{436BFB3E-1024-D4A9-E7F3-B0CE7257EAB6}"/>
          </ac:spMkLst>
        </pc:spChg>
        <pc:spChg chg="add del mod">
          <ac:chgData name="Pauline Smout" userId="3153cd80-1eee-4546-abae-f15e9d00b721" providerId="ADAL" clId="{547B9B00-4707-4AC8-9FDE-BA0EA9194C65}" dt="2023-01-25T17:20:01.895" v="895" actId="478"/>
          <ac:spMkLst>
            <pc:docMk/>
            <pc:sldMk cId="2328836022" sldId="287"/>
            <ac:spMk id="75" creationId="{0CCB8442-9D8A-0AFC-09BE-0DEB7932542F}"/>
          </ac:spMkLst>
        </pc:spChg>
        <pc:spChg chg="add del mod">
          <ac:chgData name="Pauline Smout" userId="3153cd80-1eee-4546-abae-f15e9d00b721" providerId="ADAL" clId="{547B9B00-4707-4AC8-9FDE-BA0EA9194C65}" dt="2023-01-25T17:20:01.895" v="895" actId="478"/>
          <ac:spMkLst>
            <pc:docMk/>
            <pc:sldMk cId="2328836022" sldId="287"/>
            <ac:spMk id="76" creationId="{660B68ED-C463-B4EE-D427-4CE1AAE11122}"/>
          </ac:spMkLst>
        </pc:spChg>
        <pc:spChg chg="add del mod">
          <ac:chgData name="Pauline Smout" userId="3153cd80-1eee-4546-abae-f15e9d00b721" providerId="ADAL" clId="{547B9B00-4707-4AC8-9FDE-BA0EA9194C65}" dt="2023-01-25T17:20:01.895" v="895" actId="478"/>
          <ac:spMkLst>
            <pc:docMk/>
            <pc:sldMk cId="2328836022" sldId="287"/>
            <ac:spMk id="77" creationId="{C0035B2E-28E1-0678-6AB8-4D20AF3C3615}"/>
          </ac:spMkLst>
        </pc:spChg>
        <pc:spChg chg="add del mod">
          <ac:chgData name="Pauline Smout" userId="3153cd80-1eee-4546-abae-f15e9d00b721" providerId="ADAL" clId="{547B9B00-4707-4AC8-9FDE-BA0EA9194C65}" dt="2023-01-25T17:20:01.895" v="895" actId="478"/>
          <ac:spMkLst>
            <pc:docMk/>
            <pc:sldMk cId="2328836022" sldId="287"/>
            <ac:spMk id="78" creationId="{A92514B1-E388-EA60-5A9D-A02DADB0BF8D}"/>
          </ac:spMkLst>
        </pc:spChg>
        <pc:spChg chg="add del mod">
          <ac:chgData name="Pauline Smout" userId="3153cd80-1eee-4546-abae-f15e9d00b721" providerId="ADAL" clId="{547B9B00-4707-4AC8-9FDE-BA0EA9194C65}" dt="2023-01-25T17:20:01.895" v="895" actId="478"/>
          <ac:spMkLst>
            <pc:docMk/>
            <pc:sldMk cId="2328836022" sldId="287"/>
            <ac:spMk id="79" creationId="{5754C5B7-5C17-C3DF-0FE8-9C6B5EF806C7}"/>
          </ac:spMkLst>
        </pc:spChg>
        <pc:spChg chg="add del mod">
          <ac:chgData name="Pauline Smout" userId="3153cd80-1eee-4546-abae-f15e9d00b721" providerId="ADAL" clId="{547B9B00-4707-4AC8-9FDE-BA0EA9194C65}" dt="2023-01-25T17:20:01.895" v="895" actId="478"/>
          <ac:spMkLst>
            <pc:docMk/>
            <pc:sldMk cId="2328836022" sldId="287"/>
            <ac:spMk id="80" creationId="{FF40DEEA-BE6F-7055-44A3-639B37BE6F22}"/>
          </ac:spMkLst>
        </pc:spChg>
        <pc:spChg chg="add del mod">
          <ac:chgData name="Pauline Smout" userId="3153cd80-1eee-4546-abae-f15e9d00b721" providerId="ADAL" clId="{547B9B00-4707-4AC8-9FDE-BA0EA9194C65}" dt="2023-01-25T17:20:01.895" v="895" actId="478"/>
          <ac:spMkLst>
            <pc:docMk/>
            <pc:sldMk cId="2328836022" sldId="287"/>
            <ac:spMk id="81" creationId="{95B3FE0A-569B-2670-4D87-A4878463DA95}"/>
          </ac:spMkLst>
        </pc:spChg>
        <pc:spChg chg="add del mod">
          <ac:chgData name="Pauline Smout" userId="3153cd80-1eee-4546-abae-f15e9d00b721" providerId="ADAL" clId="{547B9B00-4707-4AC8-9FDE-BA0EA9194C65}" dt="2023-01-25T17:20:01.895" v="895" actId="478"/>
          <ac:spMkLst>
            <pc:docMk/>
            <pc:sldMk cId="2328836022" sldId="287"/>
            <ac:spMk id="82" creationId="{E18C5442-C598-12AD-14A3-3B73D1DCF4C3}"/>
          </ac:spMkLst>
        </pc:spChg>
        <pc:spChg chg="add del mod">
          <ac:chgData name="Pauline Smout" userId="3153cd80-1eee-4546-abae-f15e9d00b721" providerId="ADAL" clId="{547B9B00-4707-4AC8-9FDE-BA0EA9194C65}" dt="2023-01-25T17:20:01.895" v="895" actId="478"/>
          <ac:spMkLst>
            <pc:docMk/>
            <pc:sldMk cId="2328836022" sldId="287"/>
            <ac:spMk id="83" creationId="{FC37D556-4B7A-87C7-2B97-7057D6A96207}"/>
          </ac:spMkLst>
        </pc:spChg>
        <pc:spChg chg="add del mod">
          <ac:chgData name="Pauline Smout" userId="3153cd80-1eee-4546-abae-f15e9d00b721" providerId="ADAL" clId="{547B9B00-4707-4AC8-9FDE-BA0EA9194C65}" dt="2023-01-25T17:20:01.895" v="895" actId="478"/>
          <ac:spMkLst>
            <pc:docMk/>
            <pc:sldMk cId="2328836022" sldId="287"/>
            <ac:spMk id="84" creationId="{5D0EE129-B911-C9EB-A646-7C478716581E}"/>
          </ac:spMkLst>
        </pc:spChg>
        <pc:spChg chg="add del mod">
          <ac:chgData name="Pauline Smout" userId="3153cd80-1eee-4546-abae-f15e9d00b721" providerId="ADAL" clId="{547B9B00-4707-4AC8-9FDE-BA0EA9194C65}" dt="2023-01-25T17:20:01.895" v="895" actId="478"/>
          <ac:spMkLst>
            <pc:docMk/>
            <pc:sldMk cId="2328836022" sldId="287"/>
            <ac:spMk id="85" creationId="{553BCA84-2EBA-C727-0813-922766E7EE6C}"/>
          </ac:spMkLst>
        </pc:spChg>
        <pc:spChg chg="add del mod">
          <ac:chgData name="Pauline Smout" userId="3153cd80-1eee-4546-abae-f15e9d00b721" providerId="ADAL" clId="{547B9B00-4707-4AC8-9FDE-BA0EA9194C65}" dt="2023-01-25T17:20:01.895" v="895" actId="478"/>
          <ac:spMkLst>
            <pc:docMk/>
            <pc:sldMk cId="2328836022" sldId="287"/>
            <ac:spMk id="86" creationId="{5C04DA64-01C5-E8D6-7BBF-E4A1CBDB9D57}"/>
          </ac:spMkLst>
        </pc:spChg>
        <pc:spChg chg="add del mod">
          <ac:chgData name="Pauline Smout" userId="3153cd80-1eee-4546-abae-f15e9d00b721" providerId="ADAL" clId="{547B9B00-4707-4AC8-9FDE-BA0EA9194C65}" dt="2023-01-25T17:20:01.895" v="895" actId="478"/>
          <ac:spMkLst>
            <pc:docMk/>
            <pc:sldMk cId="2328836022" sldId="287"/>
            <ac:spMk id="87" creationId="{CC8B4370-0745-D321-D37B-6027860C768D}"/>
          </ac:spMkLst>
        </pc:spChg>
        <pc:spChg chg="add del mod">
          <ac:chgData name="Pauline Smout" userId="3153cd80-1eee-4546-abae-f15e9d00b721" providerId="ADAL" clId="{547B9B00-4707-4AC8-9FDE-BA0EA9194C65}" dt="2023-01-25T17:20:01.895" v="895" actId="478"/>
          <ac:spMkLst>
            <pc:docMk/>
            <pc:sldMk cId="2328836022" sldId="287"/>
            <ac:spMk id="88" creationId="{C122EA00-ED53-1CD9-7C1A-E17BC86239EC}"/>
          </ac:spMkLst>
        </pc:spChg>
        <pc:spChg chg="add del mod">
          <ac:chgData name="Pauline Smout" userId="3153cd80-1eee-4546-abae-f15e9d00b721" providerId="ADAL" clId="{547B9B00-4707-4AC8-9FDE-BA0EA9194C65}" dt="2023-01-25T17:20:01.895" v="895" actId="478"/>
          <ac:spMkLst>
            <pc:docMk/>
            <pc:sldMk cId="2328836022" sldId="287"/>
            <ac:spMk id="89" creationId="{FAC2C813-F835-4819-CFF5-8575787D0FE6}"/>
          </ac:spMkLst>
        </pc:spChg>
        <pc:spChg chg="add del mod">
          <ac:chgData name="Pauline Smout" userId="3153cd80-1eee-4546-abae-f15e9d00b721" providerId="ADAL" clId="{547B9B00-4707-4AC8-9FDE-BA0EA9194C65}" dt="2023-01-25T17:20:01.895" v="895" actId="478"/>
          <ac:spMkLst>
            <pc:docMk/>
            <pc:sldMk cId="2328836022" sldId="287"/>
            <ac:spMk id="90" creationId="{B38CFB0C-2FD0-5AFC-6E34-6890AB1F141A}"/>
          </ac:spMkLst>
        </pc:spChg>
        <pc:spChg chg="add del mod">
          <ac:chgData name="Pauline Smout" userId="3153cd80-1eee-4546-abae-f15e9d00b721" providerId="ADAL" clId="{547B9B00-4707-4AC8-9FDE-BA0EA9194C65}" dt="2023-01-25T17:20:01.895" v="895" actId="478"/>
          <ac:spMkLst>
            <pc:docMk/>
            <pc:sldMk cId="2328836022" sldId="287"/>
            <ac:spMk id="91" creationId="{961B4DDB-9EDA-23B7-8D5A-7053906F48CD}"/>
          </ac:spMkLst>
        </pc:spChg>
        <pc:spChg chg="add del mod">
          <ac:chgData name="Pauline Smout" userId="3153cd80-1eee-4546-abae-f15e9d00b721" providerId="ADAL" clId="{547B9B00-4707-4AC8-9FDE-BA0EA9194C65}" dt="2023-01-25T17:20:01.895" v="895" actId="478"/>
          <ac:spMkLst>
            <pc:docMk/>
            <pc:sldMk cId="2328836022" sldId="287"/>
            <ac:spMk id="92" creationId="{315F2F54-15B1-FC24-D726-B1B9167BED7D}"/>
          </ac:spMkLst>
        </pc:spChg>
        <pc:spChg chg="add del mod">
          <ac:chgData name="Pauline Smout" userId="3153cd80-1eee-4546-abae-f15e9d00b721" providerId="ADAL" clId="{547B9B00-4707-4AC8-9FDE-BA0EA9194C65}" dt="2023-01-25T17:20:01.895" v="895" actId="478"/>
          <ac:spMkLst>
            <pc:docMk/>
            <pc:sldMk cId="2328836022" sldId="287"/>
            <ac:spMk id="93" creationId="{73A4B8B3-79C0-2494-0ABE-BF737A4EBA63}"/>
          </ac:spMkLst>
        </pc:spChg>
        <pc:spChg chg="add del mod">
          <ac:chgData name="Pauline Smout" userId="3153cd80-1eee-4546-abae-f15e9d00b721" providerId="ADAL" clId="{547B9B00-4707-4AC8-9FDE-BA0EA9194C65}" dt="2023-01-25T17:20:01.895" v="895" actId="478"/>
          <ac:spMkLst>
            <pc:docMk/>
            <pc:sldMk cId="2328836022" sldId="287"/>
            <ac:spMk id="94" creationId="{66983CBA-5626-76FC-17D0-DC359B209DA5}"/>
          </ac:spMkLst>
        </pc:spChg>
        <pc:spChg chg="add del mod">
          <ac:chgData name="Pauline Smout" userId="3153cd80-1eee-4546-abae-f15e9d00b721" providerId="ADAL" clId="{547B9B00-4707-4AC8-9FDE-BA0EA9194C65}" dt="2023-01-25T17:20:01.895" v="895" actId="478"/>
          <ac:spMkLst>
            <pc:docMk/>
            <pc:sldMk cId="2328836022" sldId="287"/>
            <ac:spMk id="95" creationId="{F52C260F-08A7-F90C-59A5-C75F15562BB0}"/>
          </ac:spMkLst>
        </pc:spChg>
        <pc:spChg chg="add del mod">
          <ac:chgData name="Pauline Smout" userId="3153cd80-1eee-4546-abae-f15e9d00b721" providerId="ADAL" clId="{547B9B00-4707-4AC8-9FDE-BA0EA9194C65}" dt="2023-01-25T17:20:01.895" v="895" actId="478"/>
          <ac:spMkLst>
            <pc:docMk/>
            <pc:sldMk cId="2328836022" sldId="287"/>
            <ac:spMk id="96" creationId="{1334A2B4-866F-6D29-A400-139D073AB43F}"/>
          </ac:spMkLst>
        </pc:spChg>
        <pc:grpChg chg="add del mod">
          <ac:chgData name="Pauline Smout" userId="3153cd80-1eee-4546-abae-f15e9d00b721" providerId="ADAL" clId="{547B9B00-4707-4AC8-9FDE-BA0EA9194C65}" dt="2023-01-25T17:16:11.171" v="548"/>
          <ac:grpSpMkLst>
            <pc:docMk/>
            <pc:sldMk cId="2328836022" sldId="287"/>
            <ac:grpSpMk id="2" creationId="{0DE8754B-ABAB-CABB-06DE-8A32593CB19E}"/>
          </ac:grpSpMkLst>
        </pc:grpChg>
        <pc:picChg chg="add del">
          <ac:chgData name="Pauline Smout" userId="3153cd80-1eee-4546-abae-f15e9d00b721" providerId="ADAL" clId="{547B9B00-4707-4AC8-9FDE-BA0EA9194C65}" dt="2023-01-25T17:16:09.657" v="546" actId="478"/>
          <ac:picMkLst>
            <pc:docMk/>
            <pc:sldMk cId="2328836022" sldId="287"/>
            <ac:picMk id="5" creationId="{632163FA-5E1D-736B-79CE-ADF08086A657}"/>
          </ac:picMkLst>
        </pc:picChg>
        <pc:picChg chg="add del">
          <ac:chgData name="Pauline Smout" userId="3153cd80-1eee-4546-abae-f15e9d00b721" providerId="ADAL" clId="{547B9B00-4707-4AC8-9FDE-BA0EA9194C65}" dt="2023-01-25T17:16:08.793" v="545" actId="478"/>
          <ac:picMkLst>
            <pc:docMk/>
            <pc:sldMk cId="2328836022" sldId="287"/>
            <ac:picMk id="6" creationId="{CEE9BA91-88F3-3C98-0E73-2E9CDA6DB493}"/>
          </ac:picMkLst>
        </pc:picChg>
      </pc:sldChg>
      <pc:sldChg chg="add del">
        <pc:chgData name="Pauline Smout" userId="3153cd80-1eee-4546-abae-f15e9d00b721" providerId="ADAL" clId="{547B9B00-4707-4AC8-9FDE-BA0EA9194C65}" dt="2023-01-23T08:59:48.258" v="69" actId="47"/>
        <pc:sldMkLst>
          <pc:docMk/>
          <pc:sldMk cId="3215320470" sldId="288"/>
        </pc:sldMkLst>
      </pc:sldChg>
      <pc:sldChg chg="add del">
        <pc:chgData name="Pauline Smout" userId="3153cd80-1eee-4546-abae-f15e9d00b721" providerId="ADAL" clId="{547B9B00-4707-4AC8-9FDE-BA0EA9194C65}" dt="2023-01-23T08:59:48.258" v="69" actId="47"/>
        <pc:sldMkLst>
          <pc:docMk/>
          <pc:sldMk cId="2464049271" sldId="295"/>
        </pc:sldMkLst>
      </pc:sldChg>
      <pc:sldChg chg="addSp delSp modSp add mod ord">
        <pc:chgData name="Pauline Smout" userId="3153cd80-1eee-4546-abae-f15e9d00b721" providerId="ADAL" clId="{547B9B00-4707-4AC8-9FDE-BA0EA9194C65}" dt="2023-01-30T08:25:20.248" v="10259" actId="21"/>
        <pc:sldMkLst>
          <pc:docMk/>
          <pc:sldMk cId="1637072550" sldId="296"/>
        </pc:sldMkLst>
        <pc:spChg chg="mod">
          <ac:chgData name="Pauline Smout" userId="3153cd80-1eee-4546-abae-f15e9d00b721" providerId="ADAL" clId="{547B9B00-4707-4AC8-9FDE-BA0EA9194C65}" dt="2023-01-23T08:57:56.633" v="45" actId="20577"/>
          <ac:spMkLst>
            <pc:docMk/>
            <pc:sldMk cId="1637072550" sldId="296"/>
            <ac:spMk id="2" creationId="{78B9794B-86DF-B2B9-4B9A-8A393DB40B9D}"/>
          </ac:spMkLst>
        </pc:spChg>
        <pc:spChg chg="mod">
          <ac:chgData name="Pauline Smout" userId="3153cd80-1eee-4546-abae-f15e9d00b721" providerId="ADAL" clId="{547B9B00-4707-4AC8-9FDE-BA0EA9194C65}" dt="2023-01-30T08:12:42.493" v="9806" actId="20577"/>
          <ac:spMkLst>
            <pc:docMk/>
            <pc:sldMk cId="1637072550" sldId="296"/>
            <ac:spMk id="3" creationId="{8EDECE36-CF72-E157-044B-C22517EF5C91}"/>
          </ac:spMkLst>
        </pc:spChg>
        <pc:spChg chg="add del mod">
          <ac:chgData name="Pauline Smout" userId="3153cd80-1eee-4546-abae-f15e9d00b721" providerId="ADAL" clId="{547B9B00-4707-4AC8-9FDE-BA0EA9194C65}" dt="2023-01-30T08:25:20.248" v="10259" actId="21"/>
          <ac:spMkLst>
            <pc:docMk/>
            <pc:sldMk cId="1637072550" sldId="296"/>
            <ac:spMk id="4" creationId="{7E8EBD40-137B-8207-4940-611830E6E52D}"/>
          </ac:spMkLst>
        </pc:spChg>
        <pc:spChg chg="mod">
          <ac:chgData name="Pauline Smout" userId="3153cd80-1eee-4546-abae-f15e9d00b721" providerId="ADAL" clId="{547B9B00-4707-4AC8-9FDE-BA0EA9194C65}" dt="2023-01-30T07:34:58.157" v="8863" actId="1076"/>
          <ac:spMkLst>
            <pc:docMk/>
            <pc:sldMk cId="1637072550" sldId="296"/>
            <ac:spMk id="5" creationId="{AE65E11B-E400-D9F2-10F7-8A4C6F125520}"/>
          </ac:spMkLst>
        </pc:spChg>
        <pc:spChg chg="mod ord">
          <ac:chgData name="Pauline Smout" userId="3153cd80-1eee-4546-abae-f15e9d00b721" providerId="ADAL" clId="{547B9B00-4707-4AC8-9FDE-BA0EA9194C65}" dt="2023-01-30T08:23:58.160" v="10257" actId="20577"/>
          <ac:spMkLst>
            <pc:docMk/>
            <pc:sldMk cId="1637072550" sldId="296"/>
            <ac:spMk id="6" creationId="{736F972D-5E48-9564-BF7C-13EBC47A933E}"/>
          </ac:spMkLst>
        </pc:spChg>
        <pc:spChg chg="mod ord">
          <ac:chgData name="Pauline Smout" userId="3153cd80-1eee-4546-abae-f15e9d00b721" providerId="ADAL" clId="{547B9B00-4707-4AC8-9FDE-BA0EA9194C65}" dt="2023-01-30T08:13:19.906" v="9812" actId="1076"/>
          <ac:spMkLst>
            <pc:docMk/>
            <pc:sldMk cId="1637072550" sldId="296"/>
            <ac:spMk id="7" creationId="{859C7CCB-94EA-A3D7-5555-D83ACEC1656F}"/>
          </ac:spMkLst>
        </pc:spChg>
        <pc:spChg chg="mod">
          <ac:chgData name="Pauline Smout" userId="3153cd80-1eee-4546-abae-f15e9d00b721" providerId="ADAL" clId="{547B9B00-4707-4AC8-9FDE-BA0EA9194C65}" dt="2023-01-23T08:58:12.801" v="52" actId="20577"/>
          <ac:spMkLst>
            <pc:docMk/>
            <pc:sldMk cId="1637072550" sldId="296"/>
            <ac:spMk id="8" creationId="{B0685EF2-81A4-CABF-A5BC-82E04787E280}"/>
          </ac:spMkLst>
        </pc:spChg>
        <pc:spChg chg="mod">
          <ac:chgData name="Pauline Smout" userId="3153cd80-1eee-4546-abae-f15e9d00b721" providerId="ADAL" clId="{547B9B00-4707-4AC8-9FDE-BA0EA9194C65}" dt="2023-01-30T08:13:13.201" v="9811" actId="14100"/>
          <ac:spMkLst>
            <pc:docMk/>
            <pc:sldMk cId="1637072550" sldId="296"/>
            <ac:spMk id="9" creationId="{3D588E30-0DA7-AF72-9B33-7A818C3FB181}"/>
          </ac:spMkLst>
        </pc:spChg>
        <pc:spChg chg="add mod">
          <ac:chgData name="Pauline Smout" userId="3153cd80-1eee-4546-abae-f15e9d00b721" providerId="ADAL" clId="{547B9B00-4707-4AC8-9FDE-BA0EA9194C65}" dt="2023-01-25T17:20:09.075" v="896"/>
          <ac:spMkLst>
            <pc:docMk/>
            <pc:sldMk cId="1637072550" sldId="296"/>
            <ac:spMk id="12" creationId="{EDAA55FF-B5BE-46F5-8C9C-53330DD84604}"/>
          </ac:spMkLst>
        </pc:spChg>
        <pc:spChg chg="add del mod">
          <ac:chgData name="Pauline Smout" userId="3153cd80-1eee-4546-abae-f15e9d00b721" providerId="ADAL" clId="{547B9B00-4707-4AC8-9FDE-BA0EA9194C65}" dt="2023-01-30T08:02:39.706" v="9071" actId="21"/>
          <ac:spMkLst>
            <pc:docMk/>
            <pc:sldMk cId="1637072550" sldId="296"/>
            <ac:spMk id="13" creationId="{727F1F0F-A1D2-1468-54B1-AD67CC12D773}"/>
          </ac:spMkLst>
        </pc:spChg>
        <pc:spChg chg="add del mod">
          <ac:chgData name="Pauline Smout" userId="3153cd80-1eee-4546-abae-f15e9d00b721" providerId="ADAL" clId="{547B9B00-4707-4AC8-9FDE-BA0EA9194C65}" dt="2023-01-30T08:24:11.752" v="10258" actId="478"/>
          <ac:spMkLst>
            <pc:docMk/>
            <pc:sldMk cId="1637072550" sldId="296"/>
            <ac:spMk id="14" creationId="{D7A2CE19-0AAE-6B7D-FCED-F9BC4043A759}"/>
          </ac:spMkLst>
        </pc:spChg>
        <pc:picChg chg="add mod">
          <ac:chgData name="Pauline Smout" userId="3153cd80-1eee-4546-abae-f15e9d00b721" providerId="ADAL" clId="{547B9B00-4707-4AC8-9FDE-BA0EA9194C65}" dt="2023-01-25T17:20:09.075" v="896"/>
          <ac:picMkLst>
            <pc:docMk/>
            <pc:sldMk cId="1637072550" sldId="296"/>
            <ac:picMk id="10" creationId="{2C837095-4550-776B-BB7B-370A3CEBF6E2}"/>
          </ac:picMkLst>
        </pc:picChg>
        <pc:picChg chg="add mod">
          <ac:chgData name="Pauline Smout" userId="3153cd80-1eee-4546-abae-f15e9d00b721" providerId="ADAL" clId="{547B9B00-4707-4AC8-9FDE-BA0EA9194C65}" dt="2023-01-25T17:20:09.075" v="896"/>
          <ac:picMkLst>
            <pc:docMk/>
            <pc:sldMk cId="1637072550" sldId="296"/>
            <ac:picMk id="11" creationId="{77302298-FD2A-67AB-0908-D5FB3781C232}"/>
          </ac:picMkLst>
        </pc:picChg>
      </pc:sldChg>
      <pc:sldChg chg="addSp delSp modSp add mod">
        <pc:chgData name="Pauline Smout" userId="3153cd80-1eee-4546-abae-f15e9d00b721" providerId="ADAL" clId="{547B9B00-4707-4AC8-9FDE-BA0EA9194C65}" dt="2023-02-02T13:08:30.859" v="19114" actId="20577"/>
        <pc:sldMkLst>
          <pc:docMk/>
          <pc:sldMk cId="3069674258" sldId="297"/>
        </pc:sldMkLst>
        <pc:spChg chg="add del mod">
          <ac:chgData name="Pauline Smout" userId="3153cd80-1eee-4546-abae-f15e9d00b721" providerId="ADAL" clId="{547B9B00-4707-4AC8-9FDE-BA0EA9194C65}" dt="2023-01-30T16:23:08.643" v="14841" actId="478"/>
          <ac:spMkLst>
            <pc:docMk/>
            <pc:sldMk cId="3069674258" sldId="297"/>
            <ac:spMk id="2" creationId="{8D338679-E0AE-4C27-6C3B-E74ED9CF9D92}"/>
          </ac:spMkLst>
        </pc:spChg>
        <pc:spChg chg="del mod">
          <ac:chgData name="Pauline Smout" userId="3153cd80-1eee-4546-abae-f15e9d00b721" providerId="ADAL" clId="{547B9B00-4707-4AC8-9FDE-BA0EA9194C65}" dt="2023-01-25T17:28:52.560" v="946" actId="478"/>
          <ac:spMkLst>
            <pc:docMk/>
            <pc:sldMk cId="3069674258" sldId="297"/>
            <ac:spMk id="3" creationId="{095B6F35-C464-CB1A-98D8-84BA1D1241EB}"/>
          </ac:spMkLst>
        </pc:spChg>
        <pc:spChg chg="add del mod">
          <ac:chgData name="Pauline Smout" userId="3153cd80-1eee-4546-abae-f15e9d00b721" providerId="ADAL" clId="{547B9B00-4707-4AC8-9FDE-BA0EA9194C65}" dt="2023-01-30T16:24:31.673" v="14956" actId="478"/>
          <ac:spMkLst>
            <pc:docMk/>
            <pc:sldMk cId="3069674258" sldId="297"/>
            <ac:spMk id="3" creationId="{B919A50D-5BE9-9436-2965-EF54A46C0E28}"/>
          </ac:spMkLst>
        </pc:spChg>
        <pc:spChg chg="add del mod">
          <ac:chgData name="Pauline Smout" userId="3153cd80-1eee-4546-abae-f15e9d00b721" providerId="ADAL" clId="{547B9B00-4707-4AC8-9FDE-BA0EA9194C65}" dt="2023-01-30T16:23:11.408" v="14842" actId="478"/>
          <ac:spMkLst>
            <pc:docMk/>
            <pc:sldMk cId="3069674258" sldId="297"/>
            <ac:spMk id="4" creationId="{CFB8BC8E-4AD0-EA9A-C556-090F0A963975}"/>
          </ac:spMkLst>
        </pc:spChg>
        <pc:spChg chg="add del">
          <ac:chgData name="Pauline Smout" userId="3153cd80-1eee-4546-abae-f15e9d00b721" providerId="ADAL" clId="{547B9B00-4707-4AC8-9FDE-BA0EA9194C65}" dt="2023-01-25T17:16:08.311" v="544" actId="478"/>
          <ac:spMkLst>
            <pc:docMk/>
            <pc:sldMk cId="3069674258" sldId="297"/>
            <ac:spMk id="7" creationId="{2D95F98B-A398-8E28-0B72-62DC1E8B73C1}"/>
          </ac:spMkLst>
        </pc:spChg>
        <pc:spChg chg="mod">
          <ac:chgData name="Pauline Smout" userId="3153cd80-1eee-4546-abae-f15e9d00b721" providerId="ADAL" clId="{547B9B00-4707-4AC8-9FDE-BA0EA9194C65}" dt="2023-01-25T17:18:53.489" v="864" actId="20577"/>
          <ac:spMkLst>
            <pc:docMk/>
            <pc:sldMk cId="3069674258" sldId="297"/>
            <ac:spMk id="8" creationId="{63806430-090A-261A-5481-57459F5C7329}"/>
          </ac:spMkLst>
        </pc:spChg>
        <pc:spChg chg="add del mod">
          <ac:chgData name="Pauline Smout" userId="3153cd80-1eee-4546-abae-f15e9d00b721" providerId="ADAL" clId="{547B9B00-4707-4AC8-9FDE-BA0EA9194C65}" dt="2023-01-25T17:28:54.439" v="947" actId="478"/>
          <ac:spMkLst>
            <pc:docMk/>
            <pc:sldMk cId="3069674258" sldId="297"/>
            <ac:spMk id="9" creationId="{25AECE53-3A36-2B28-51FD-4D2655782D2F}"/>
          </ac:spMkLst>
        </pc:spChg>
        <pc:spChg chg="add mod">
          <ac:chgData name="Pauline Smout" userId="3153cd80-1eee-4546-abae-f15e9d00b721" providerId="ADAL" clId="{547B9B00-4707-4AC8-9FDE-BA0EA9194C65}" dt="2023-02-02T13:08:30.859" v="19114" actId="20577"/>
          <ac:spMkLst>
            <pc:docMk/>
            <pc:sldMk cId="3069674258" sldId="297"/>
            <ac:spMk id="9" creationId="{B0806810-6294-1CC9-220F-C68F1442E110}"/>
          </ac:spMkLst>
        </pc:spChg>
        <pc:spChg chg="add del mod">
          <ac:chgData name="Pauline Smout" userId="3153cd80-1eee-4546-abae-f15e9d00b721" providerId="ADAL" clId="{547B9B00-4707-4AC8-9FDE-BA0EA9194C65}" dt="2023-01-25T17:40:19.871" v="1057" actId="478"/>
          <ac:spMkLst>
            <pc:docMk/>
            <pc:sldMk cId="3069674258" sldId="297"/>
            <ac:spMk id="10" creationId="{6C6E2CCE-6CA4-C009-AA4B-F0B48B8643B8}"/>
          </ac:spMkLst>
        </pc:spChg>
        <pc:spChg chg="add del mod">
          <ac:chgData name="Pauline Smout" userId="3153cd80-1eee-4546-abae-f15e9d00b721" providerId="ADAL" clId="{547B9B00-4707-4AC8-9FDE-BA0EA9194C65}" dt="2023-01-25T17:40:19.871" v="1057" actId="478"/>
          <ac:spMkLst>
            <pc:docMk/>
            <pc:sldMk cId="3069674258" sldId="297"/>
            <ac:spMk id="12" creationId="{F149D74C-8059-3B36-2803-CC07580CAD5E}"/>
          </ac:spMkLst>
        </pc:spChg>
        <pc:spChg chg="add del mod">
          <ac:chgData name="Pauline Smout" userId="3153cd80-1eee-4546-abae-f15e9d00b721" providerId="ADAL" clId="{547B9B00-4707-4AC8-9FDE-BA0EA9194C65}" dt="2023-01-25T17:40:19.871" v="1057" actId="478"/>
          <ac:spMkLst>
            <pc:docMk/>
            <pc:sldMk cId="3069674258" sldId="297"/>
            <ac:spMk id="13" creationId="{87E3A7D0-D74B-8EF8-1887-2F661A816DA7}"/>
          </ac:spMkLst>
        </pc:spChg>
        <pc:spChg chg="add del mod">
          <ac:chgData name="Pauline Smout" userId="3153cd80-1eee-4546-abae-f15e9d00b721" providerId="ADAL" clId="{547B9B00-4707-4AC8-9FDE-BA0EA9194C65}" dt="2023-01-25T17:40:19.871" v="1057" actId="478"/>
          <ac:spMkLst>
            <pc:docMk/>
            <pc:sldMk cId="3069674258" sldId="297"/>
            <ac:spMk id="14" creationId="{AAE1E051-539F-3C1E-9CC1-0652311BDE6D}"/>
          </ac:spMkLst>
        </pc:spChg>
        <pc:spChg chg="add mod">
          <ac:chgData name="Pauline Smout" userId="3153cd80-1eee-4546-abae-f15e9d00b721" providerId="ADAL" clId="{547B9B00-4707-4AC8-9FDE-BA0EA9194C65}" dt="2023-01-30T16:25:07.879" v="14965" actId="1076"/>
          <ac:spMkLst>
            <pc:docMk/>
            <pc:sldMk cId="3069674258" sldId="297"/>
            <ac:spMk id="15" creationId="{54016651-8580-11D9-CA85-E55F221ED463}"/>
          </ac:spMkLst>
        </pc:spChg>
        <pc:spChg chg="add mod">
          <ac:chgData name="Pauline Smout" userId="3153cd80-1eee-4546-abae-f15e9d00b721" providerId="ADAL" clId="{547B9B00-4707-4AC8-9FDE-BA0EA9194C65}" dt="2023-01-30T16:25:07.879" v="14965" actId="1076"/>
          <ac:spMkLst>
            <pc:docMk/>
            <pc:sldMk cId="3069674258" sldId="297"/>
            <ac:spMk id="16" creationId="{12B0C176-19A6-C6F4-4287-B870D12AEE8D}"/>
          </ac:spMkLst>
        </pc:spChg>
        <pc:spChg chg="add mod">
          <ac:chgData name="Pauline Smout" userId="3153cd80-1eee-4546-abae-f15e9d00b721" providerId="ADAL" clId="{547B9B00-4707-4AC8-9FDE-BA0EA9194C65}" dt="2023-01-30T16:25:07.879" v="14965" actId="1076"/>
          <ac:spMkLst>
            <pc:docMk/>
            <pc:sldMk cId="3069674258" sldId="297"/>
            <ac:spMk id="17" creationId="{544D8853-FF51-CBB5-9235-78E4FB8B70B4}"/>
          </ac:spMkLst>
        </pc:spChg>
        <pc:spChg chg="add mod">
          <ac:chgData name="Pauline Smout" userId="3153cd80-1eee-4546-abae-f15e9d00b721" providerId="ADAL" clId="{547B9B00-4707-4AC8-9FDE-BA0EA9194C65}" dt="2023-01-30T16:25:07.879" v="14965" actId="1076"/>
          <ac:spMkLst>
            <pc:docMk/>
            <pc:sldMk cId="3069674258" sldId="297"/>
            <ac:spMk id="18" creationId="{C9A95D62-A253-35A8-77F8-AD3229116635}"/>
          </ac:spMkLst>
        </pc:spChg>
        <pc:spChg chg="add del mod ord">
          <ac:chgData name="Pauline Smout" userId="3153cd80-1eee-4546-abae-f15e9d00b721" providerId="ADAL" clId="{547B9B00-4707-4AC8-9FDE-BA0EA9194C65}" dt="2023-01-25T17:41:46.877" v="1083" actId="478"/>
          <ac:spMkLst>
            <pc:docMk/>
            <pc:sldMk cId="3069674258" sldId="297"/>
            <ac:spMk id="19" creationId="{FB8A0C42-A201-E02A-C28E-DA80968DAC7C}"/>
          </ac:spMkLst>
        </pc:spChg>
        <pc:spChg chg="add mod">
          <ac:chgData name="Pauline Smout" userId="3153cd80-1eee-4546-abae-f15e9d00b721" providerId="ADAL" clId="{547B9B00-4707-4AC8-9FDE-BA0EA9194C65}" dt="2023-01-30T16:24:44.273" v="14964" actId="20577"/>
          <ac:spMkLst>
            <pc:docMk/>
            <pc:sldMk cId="3069674258" sldId="297"/>
            <ac:spMk id="20" creationId="{6A702181-012B-7FF6-8D92-2A277CB55B13}"/>
          </ac:spMkLst>
        </pc:spChg>
        <pc:picChg chg="add del mod modCrop">
          <ac:chgData name="Pauline Smout" userId="3153cd80-1eee-4546-abae-f15e9d00b721" providerId="ADAL" clId="{547B9B00-4707-4AC8-9FDE-BA0EA9194C65}" dt="2023-01-25T17:28:51.399" v="945" actId="478"/>
          <ac:picMkLst>
            <pc:docMk/>
            <pc:sldMk cId="3069674258" sldId="297"/>
            <ac:picMk id="2" creationId="{D4FF596A-69F6-4AC9-498E-9BFA8FD6027D}"/>
          </ac:picMkLst>
        </pc:picChg>
        <pc:picChg chg="add del">
          <ac:chgData name="Pauline Smout" userId="3153cd80-1eee-4546-abae-f15e9d00b721" providerId="ADAL" clId="{547B9B00-4707-4AC8-9FDE-BA0EA9194C65}" dt="2023-01-25T17:16:08.311" v="544" actId="478"/>
          <ac:picMkLst>
            <pc:docMk/>
            <pc:sldMk cId="3069674258" sldId="297"/>
            <ac:picMk id="5" creationId="{632163FA-5E1D-736B-79CE-ADF08086A657}"/>
          </ac:picMkLst>
        </pc:picChg>
        <pc:picChg chg="add del">
          <ac:chgData name="Pauline Smout" userId="3153cd80-1eee-4546-abae-f15e9d00b721" providerId="ADAL" clId="{547B9B00-4707-4AC8-9FDE-BA0EA9194C65}" dt="2023-01-25T17:16:08.311" v="544" actId="478"/>
          <ac:picMkLst>
            <pc:docMk/>
            <pc:sldMk cId="3069674258" sldId="297"/>
            <ac:picMk id="6" creationId="{CEE9BA91-88F3-3C98-0E73-2E9CDA6DB493}"/>
          </ac:picMkLst>
        </pc:picChg>
      </pc:sldChg>
      <pc:sldChg chg="addSp delSp modSp add mod">
        <pc:chgData name="Pauline Smout" userId="3153cd80-1eee-4546-abae-f15e9d00b721" providerId="ADAL" clId="{547B9B00-4707-4AC8-9FDE-BA0EA9194C65}" dt="2023-01-30T17:45:23.245" v="19096" actId="20577"/>
        <pc:sldMkLst>
          <pc:docMk/>
          <pc:sldMk cId="669454462" sldId="298"/>
        </pc:sldMkLst>
        <pc:spChg chg="add del">
          <ac:chgData name="Pauline Smout" userId="3153cd80-1eee-4546-abae-f15e9d00b721" providerId="ADAL" clId="{547B9B00-4707-4AC8-9FDE-BA0EA9194C65}" dt="2023-01-25T17:08:21.852" v="485" actId="478"/>
          <ac:spMkLst>
            <pc:docMk/>
            <pc:sldMk cId="669454462" sldId="298"/>
            <ac:spMk id="2" creationId="{46335077-2178-21A6-D3DC-F5E0096DA357}"/>
          </ac:spMkLst>
        </pc:spChg>
        <pc:spChg chg="add del mod">
          <ac:chgData name="Pauline Smout" userId="3153cd80-1eee-4546-abae-f15e9d00b721" providerId="ADAL" clId="{547B9B00-4707-4AC8-9FDE-BA0EA9194C65}" dt="2023-01-30T17:41:44.813" v="18422" actId="478"/>
          <ac:spMkLst>
            <pc:docMk/>
            <pc:sldMk cId="669454462" sldId="298"/>
            <ac:spMk id="2" creationId="{AE425369-561C-ABFC-054A-F60246B1CEBC}"/>
          </ac:spMkLst>
        </pc:spChg>
        <pc:spChg chg="del mod">
          <ac:chgData name="Pauline Smout" userId="3153cd80-1eee-4546-abae-f15e9d00b721" providerId="ADAL" clId="{547B9B00-4707-4AC8-9FDE-BA0EA9194C65}" dt="2023-01-30T17:35:27.015" v="17867" actId="478"/>
          <ac:spMkLst>
            <pc:docMk/>
            <pc:sldMk cId="669454462" sldId="298"/>
            <ac:spMk id="3" creationId="{095B6F35-C464-CB1A-98D8-84BA1D1241EB}"/>
          </ac:spMkLst>
        </pc:spChg>
        <pc:spChg chg="add del mod">
          <ac:chgData name="Pauline Smout" userId="3153cd80-1eee-4546-abae-f15e9d00b721" providerId="ADAL" clId="{547B9B00-4707-4AC8-9FDE-BA0EA9194C65}" dt="2023-01-30T17:41:44.813" v="18422" actId="478"/>
          <ac:spMkLst>
            <pc:docMk/>
            <pc:sldMk cId="669454462" sldId="298"/>
            <ac:spMk id="4" creationId="{5A0A26C5-ED86-0C9E-B44D-F38ABE1C0E6D}"/>
          </ac:spMkLst>
        </pc:spChg>
        <pc:spChg chg="add del">
          <ac:chgData name="Pauline Smout" userId="3153cd80-1eee-4546-abae-f15e9d00b721" providerId="ADAL" clId="{547B9B00-4707-4AC8-9FDE-BA0EA9194C65}" dt="2023-01-25T17:16:06.629" v="540" actId="478"/>
          <ac:spMkLst>
            <pc:docMk/>
            <pc:sldMk cId="669454462" sldId="298"/>
            <ac:spMk id="7" creationId="{2D95F98B-A398-8E28-0B72-62DC1E8B73C1}"/>
          </ac:spMkLst>
        </pc:spChg>
        <pc:spChg chg="mod">
          <ac:chgData name="Pauline Smout" userId="3153cd80-1eee-4546-abae-f15e9d00b721" providerId="ADAL" clId="{547B9B00-4707-4AC8-9FDE-BA0EA9194C65}" dt="2023-01-25T17:19:33.129" v="887" actId="20577"/>
          <ac:spMkLst>
            <pc:docMk/>
            <pc:sldMk cId="669454462" sldId="298"/>
            <ac:spMk id="8" creationId="{63806430-090A-261A-5481-57459F5C7329}"/>
          </ac:spMkLst>
        </pc:spChg>
        <pc:spChg chg="add mod">
          <ac:chgData name="Pauline Smout" userId="3153cd80-1eee-4546-abae-f15e9d00b721" providerId="ADAL" clId="{547B9B00-4707-4AC8-9FDE-BA0EA9194C65}" dt="2023-01-30T17:45:23.245" v="19096" actId="20577"/>
          <ac:spMkLst>
            <pc:docMk/>
            <pc:sldMk cId="669454462" sldId="298"/>
            <ac:spMk id="9" creationId="{4B33DF91-5856-FC52-E476-605064E5B073}"/>
          </ac:spMkLst>
        </pc:spChg>
        <pc:picChg chg="add del">
          <ac:chgData name="Pauline Smout" userId="3153cd80-1eee-4546-abae-f15e9d00b721" providerId="ADAL" clId="{547B9B00-4707-4AC8-9FDE-BA0EA9194C65}" dt="2023-01-25T17:16:06.629" v="540" actId="478"/>
          <ac:picMkLst>
            <pc:docMk/>
            <pc:sldMk cId="669454462" sldId="298"/>
            <ac:picMk id="5" creationId="{632163FA-5E1D-736B-79CE-ADF08086A657}"/>
          </ac:picMkLst>
        </pc:picChg>
        <pc:picChg chg="add del">
          <ac:chgData name="Pauline Smout" userId="3153cd80-1eee-4546-abae-f15e9d00b721" providerId="ADAL" clId="{547B9B00-4707-4AC8-9FDE-BA0EA9194C65}" dt="2023-01-25T17:16:06.629" v="540" actId="478"/>
          <ac:picMkLst>
            <pc:docMk/>
            <pc:sldMk cId="669454462" sldId="298"/>
            <ac:picMk id="6" creationId="{CEE9BA91-88F3-3C98-0E73-2E9CDA6DB493}"/>
          </ac:picMkLst>
        </pc:picChg>
      </pc:sldChg>
      <pc:sldChg chg="add del">
        <pc:chgData name="Pauline Smout" userId="3153cd80-1eee-4546-abae-f15e9d00b721" providerId="ADAL" clId="{547B9B00-4707-4AC8-9FDE-BA0EA9194C65}" dt="2023-01-23T09:42:12.093" v="188"/>
        <pc:sldMkLst>
          <pc:docMk/>
          <pc:sldMk cId="3005283833" sldId="298"/>
        </pc:sldMkLst>
      </pc:sldChg>
      <pc:sldChg chg="addSp delSp modSp add del mod">
        <pc:chgData name="Pauline Smout" userId="3153cd80-1eee-4546-abae-f15e9d00b721" providerId="ADAL" clId="{547B9B00-4707-4AC8-9FDE-BA0EA9194C65}" dt="2023-01-30T16:28:50.935" v="15162" actId="47"/>
        <pc:sldMkLst>
          <pc:docMk/>
          <pc:sldMk cId="1451179583" sldId="299"/>
        </pc:sldMkLst>
        <pc:spChg chg="add del mod">
          <ac:chgData name="Pauline Smout" userId="3153cd80-1eee-4546-abae-f15e9d00b721" providerId="ADAL" clId="{547B9B00-4707-4AC8-9FDE-BA0EA9194C65}" dt="2023-01-30T16:28:30.640" v="15156" actId="21"/>
          <ac:spMkLst>
            <pc:docMk/>
            <pc:sldMk cId="1451179583" sldId="299"/>
            <ac:spMk id="2" creationId="{A773AE1D-B8ED-8EAE-77FD-B8B149AAB500}"/>
          </ac:spMkLst>
        </pc:spChg>
        <pc:spChg chg="mod">
          <ac:chgData name="Pauline Smout" userId="3153cd80-1eee-4546-abae-f15e9d00b721" providerId="ADAL" clId="{547B9B00-4707-4AC8-9FDE-BA0EA9194C65}" dt="2023-01-30T16:27:04.616" v="15016" actId="21"/>
          <ac:spMkLst>
            <pc:docMk/>
            <pc:sldMk cId="1451179583" sldId="299"/>
            <ac:spMk id="3" creationId="{095B6F35-C464-CB1A-98D8-84BA1D1241EB}"/>
          </ac:spMkLst>
        </pc:spChg>
        <pc:spChg chg="add mod">
          <ac:chgData name="Pauline Smout" userId="3153cd80-1eee-4546-abae-f15e9d00b721" providerId="ADAL" clId="{547B9B00-4707-4AC8-9FDE-BA0EA9194C65}" dt="2023-01-30T16:28:18.177" v="15154" actId="21"/>
          <ac:spMkLst>
            <pc:docMk/>
            <pc:sldMk cId="1451179583" sldId="299"/>
            <ac:spMk id="4" creationId="{FFF9EC2A-6F9E-EF9D-9F9C-DF7B9D47B936}"/>
          </ac:spMkLst>
        </pc:spChg>
        <pc:spChg chg="add del">
          <ac:chgData name="Pauline Smout" userId="3153cd80-1eee-4546-abae-f15e9d00b721" providerId="ADAL" clId="{547B9B00-4707-4AC8-9FDE-BA0EA9194C65}" dt="2023-01-25T17:16:07.915" v="543" actId="478"/>
          <ac:spMkLst>
            <pc:docMk/>
            <pc:sldMk cId="1451179583" sldId="299"/>
            <ac:spMk id="7" creationId="{2D95F98B-A398-8E28-0B72-62DC1E8B73C1}"/>
          </ac:spMkLst>
        </pc:spChg>
        <pc:spChg chg="mod">
          <ac:chgData name="Pauline Smout" userId="3153cd80-1eee-4546-abae-f15e9d00b721" providerId="ADAL" clId="{547B9B00-4707-4AC8-9FDE-BA0EA9194C65}" dt="2023-01-25T17:18:58.887" v="865"/>
          <ac:spMkLst>
            <pc:docMk/>
            <pc:sldMk cId="1451179583" sldId="299"/>
            <ac:spMk id="8" creationId="{63806430-090A-261A-5481-57459F5C7329}"/>
          </ac:spMkLst>
        </pc:spChg>
        <pc:spChg chg="add del mod">
          <ac:chgData name="Pauline Smout" userId="3153cd80-1eee-4546-abae-f15e9d00b721" providerId="ADAL" clId="{547B9B00-4707-4AC8-9FDE-BA0EA9194C65}" dt="2023-01-30T16:28:30.640" v="15156" actId="21"/>
          <ac:spMkLst>
            <pc:docMk/>
            <pc:sldMk cId="1451179583" sldId="299"/>
            <ac:spMk id="9" creationId="{77C0A5FD-A586-F7ED-B9DC-90927C75B1CD}"/>
          </ac:spMkLst>
        </pc:spChg>
        <pc:picChg chg="del">
          <ac:chgData name="Pauline Smout" userId="3153cd80-1eee-4546-abae-f15e9d00b721" providerId="ADAL" clId="{547B9B00-4707-4AC8-9FDE-BA0EA9194C65}" dt="2023-01-23T09:59:49.611" v="406" actId="478"/>
          <ac:picMkLst>
            <pc:docMk/>
            <pc:sldMk cId="1451179583" sldId="299"/>
            <ac:picMk id="2" creationId="{D4FF596A-69F6-4AC9-498E-9BFA8FD6027D}"/>
          </ac:picMkLst>
        </pc:picChg>
        <pc:picChg chg="add del mod modCrop">
          <ac:chgData name="Pauline Smout" userId="3153cd80-1eee-4546-abae-f15e9d00b721" providerId="ADAL" clId="{547B9B00-4707-4AC8-9FDE-BA0EA9194C65}" dt="2023-01-25T18:18:18.846" v="1252" actId="478"/>
          <ac:picMkLst>
            <pc:docMk/>
            <pc:sldMk cId="1451179583" sldId="299"/>
            <ac:picMk id="4" creationId="{007313F6-F597-73FA-69CB-B383E15E7AC6}"/>
          </ac:picMkLst>
        </pc:picChg>
        <pc:picChg chg="add del">
          <ac:chgData name="Pauline Smout" userId="3153cd80-1eee-4546-abae-f15e9d00b721" providerId="ADAL" clId="{547B9B00-4707-4AC8-9FDE-BA0EA9194C65}" dt="2023-01-25T17:16:07.915" v="543" actId="478"/>
          <ac:picMkLst>
            <pc:docMk/>
            <pc:sldMk cId="1451179583" sldId="299"/>
            <ac:picMk id="5" creationId="{632163FA-5E1D-736B-79CE-ADF08086A657}"/>
          </ac:picMkLst>
        </pc:picChg>
        <pc:picChg chg="add del">
          <ac:chgData name="Pauline Smout" userId="3153cd80-1eee-4546-abae-f15e9d00b721" providerId="ADAL" clId="{547B9B00-4707-4AC8-9FDE-BA0EA9194C65}" dt="2023-01-25T17:16:07.915" v="543" actId="478"/>
          <ac:picMkLst>
            <pc:docMk/>
            <pc:sldMk cId="1451179583" sldId="299"/>
            <ac:picMk id="6" creationId="{CEE9BA91-88F3-3C98-0E73-2E9CDA6DB493}"/>
          </ac:picMkLst>
        </pc:picChg>
      </pc:sldChg>
      <pc:sldChg chg="addSp delSp modSp add del mod">
        <pc:chgData name="Pauline Smout" userId="3153cd80-1eee-4546-abae-f15e9d00b721" providerId="ADAL" clId="{547B9B00-4707-4AC8-9FDE-BA0EA9194C65}" dt="2023-01-30T16:35:02.015" v="15964" actId="47"/>
        <pc:sldMkLst>
          <pc:docMk/>
          <pc:sldMk cId="1577414195" sldId="300"/>
        </pc:sldMkLst>
        <pc:spChg chg="add mod">
          <ac:chgData name="Pauline Smout" userId="3153cd80-1eee-4546-abae-f15e9d00b721" providerId="ADAL" clId="{547B9B00-4707-4AC8-9FDE-BA0EA9194C65}" dt="2023-01-30T16:29:32.171" v="15173" actId="21"/>
          <ac:spMkLst>
            <pc:docMk/>
            <pc:sldMk cId="1577414195" sldId="300"/>
            <ac:spMk id="2" creationId="{96F95DBF-A199-8433-77FB-4CD11AE4FDB4}"/>
          </ac:spMkLst>
        </pc:spChg>
        <pc:spChg chg="mod">
          <ac:chgData name="Pauline Smout" userId="3153cd80-1eee-4546-abae-f15e9d00b721" providerId="ADAL" clId="{547B9B00-4707-4AC8-9FDE-BA0EA9194C65}" dt="2023-01-30T16:29:10.547" v="15164" actId="21"/>
          <ac:spMkLst>
            <pc:docMk/>
            <pc:sldMk cId="1577414195" sldId="300"/>
            <ac:spMk id="3" creationId="{095B6F35-C464-CB1A-98D8-84BA1D1241EB}"/>
          </ac:spMkLst>
        </pc:spChg>
        <pc:spChg chg="add del mod">
          <ac:chgData name="Pauline Smout" userId="3153cd80-1eee-4546-abae-f15e9d00b721" providerId="ADAL" clId="{547B9B00-4707-4AC8-9FDE-BA0EA9194C65}" dt="2023-01-30T16:29:39.110" v="15175" actId="21"/>
          <ac:spMkLst>
            <pc:docMk/>
            <pc:sldMk cId="1577414195" sldId="300"/>
            <ac:spMk id="4" creationId="{C4B372A2-2D34-459A-83FB-5902238CC928}"/>
          </ac:spMkLst>
        </pc:spChg>
        <pc:spChg chg="add del">
          <ac:chgData name="Pauline Smout" userId="3153cd80-1eee-4546-abae-f15e9d00b721" providerId="ADAL" clId="{547B9B00-4707-4AC8-9FDE-BA0EA9194C65}" dt="2023-01-25T17:16:07.501" v="542" actId="478"/>
          <ac:spMkLst>
            <pc:docMk/>
            <pc:sldMk cId="1577414195" sldId="300"/>
            <ac:spMk id="7" creationId="{2D95F98B-A398-8E28-0B72-62DC1E8B73C1}"/>
          </ac:spMkLst>
        </pc:spChg>
        <pc:spChg chg="mod">
          <ac:chgData name="Pauline Smout" userId="3153cd80-1eee-4546-abae-f15e9d00b721" providerId="ADAL" clId="{547B9B00-4707-4AC8-9FDE-BA0EA9194C65}" dt="2023-01-25T17:19:01.246" v="866"/>
          <ac:spMkLst>
            <pc:docMk/>
            <pc:sldMk cId="1577414195" sldId="300"/>
            <ac:spMk id="8" creationId="{63806430-090A-261A-5481-57459F5C7329}"/>
          </ac:spMkLst>
        </pc:spChg>
        <pc:spChg chg="add del mod">
          <ac:chgData name="Pauline Smout" userId="3153cd80-1eee-4546-abae-f15e9d00b721" providerId="ADAL" clId="{547B9B00-4707-4AC8-9FDE-BA0EA9194C65}" dt="2023-01-30T16:29:39.110" v="15175" actId="21"/>
          <ac:spMkLst>
            <pc:docMk/>
            <pc:sldMk cId="1577414195" sldId="300"/>
            <ac:spMk id="9" creationId="{43326558-D2D0-E973-1807-2C4C124A0AA1}"/>
          </ac:spMkLst>
        </pc:spChg>
        <pc:picChg chg="add del mod modCrop">
          <ac:chgData name="Pauline Smout" userId="3153cd80-1eee-4546-abae-f15e9d00b721" providerId="ADAL" clId="{547B9B00-4707-4AC8-9FDE-BA0EA9194C65}" dt="2023-01-25T18:17:57.106" v="1248" actId="478"/>
          <ac:picMkLst>
            <pc:docMk/>
            <pc:sldMk cId="1577414195" sldId="300"/>
            <ac:picMk id="2" creationId="{0BA36A98-F780-6608-796F-4D5E2738FEFB}"/>
          </ac:picMkLst>
        </pc:picChg>
        <pc:picChg chg="del">
          <ac:chgData name="Pauline Smout" userId="3153cd80-1eee-4546-abae-f15e9d00b721" providerId="ADAL" clId="{547B9B00-4707-4AC8-9FDE-BA0EA9194C65}" dt="2023-01-23T10:00:30.811" v="421" actId="478"/>
          <ac:picMkLst>
            <pc:docMk/>
            <pc:sldMk cId="1577414195" sldId="300"/>
            <ac:picMk id="4" creationId="{007313F6-F597-73FA-69CB-B383E15E7AC6}"/>
          </ac:picMkLst>
        </pc:picChg>
        <pc:picChg chg="add del">
          <ac:chgData name="Pauline Smout" userId="3153cd80-1eee-4546-abae-f15e9d00b721" providerId="ADAL" clId="{547B9B00-4707-4AC8-9FDE-BA0EA9194C65}" dt="2023-01-25T17:16:07.501" v="542" actId="478"/>
          <ac:picMkLst>
            <pc:docMk/>
            <pc:sldMk cId="1577414195" sldId="300"/>
            <ac:picMk id="5" creationId="{632163FA-5E1D-736B-79CE-ADF08086A657}"/>
          </ac:picMkLst>
        </pc:picChg>
        <pc:picChg chg="add del">
          <ac:chgData name="Pauline Smout" userId="3153cd80-1eee-4546-abae-f15e9d00b721" providerId="ADAL" clId="{547B9B00-4707-4AC8-9FDE-BA0EA9194C65}" dt="2023-01-25T17:16:07.501" v="542" actId="478"/>
          <ac:picMkLst>
            <pc:docMk/>
            <pc:sldMk cId="1577414195" sldId="300"/>
            <ac:picMk id="6" creationId="{CEE9BA91-88F3-3C98-0E73-2E9CDA6DB493}"/>
          </ac:picMkLst>
        </pc:picChg>
      </pc:sldChg>
      <pc:sldChg chg="addSp delSp modSp add del mod">
        <pc:chgData name="Pauline Smout" userId="3153cd80-1eee-4546-abae-f15e9d00b721" providerId="ADAL" clId="{547B9B00-4707-4AC8-9FDE-BA0EA9194C65}" dt="2023-01-30T16:37:26.208" v="16005" actId="47"/>
        <pc:sldMkLst>
          <pc:docMk/>
          <pc:sldMk cId="283761931" sldId="301"/>
        </pc:sldMkLst>
        <pc:spChg chg="add del mod">
          <ac:chgData name="Pauline Smout" userId="3153cd80-1eee-4546-abae-f15e9d00b721" providerId="ADAL" clId="{547B9B00-4707-4AC8-9FDE-BA0EA9194C65}" dt="2023-01-30T16:35:45.358" v="15974" actId="21"/>
          <ac:spMkLst>
            <pc:docMk/>
            <pc:sldMk cId="283761931" sldId="301"/>
            <ac:spMk id="2" creationId="{7408CCB4-5007-8C7B-963B-5EB16BA9F6A8}"/>
          </ac:spMkLst>
        </pc:spChg>
        <pc:spChg chg="mod">
          <ac:chgData name="Pauline Smout" userId="3153cd80-1eee-4546-abae-f15e9d00b721" providerId="ADAL" clId="{547B9B00-4707-4AC8-9FDE-BA0EA9194C65}" dt="2023-01-30T16:35:16" v="15966" actId="21"/>
          <ac:spMkLst>
            <pc:docMk/>
            <pc:sldMk cId="283761931" sldId="301"/>
            <ac:spMk id="3" creationId="{095B6F35-C464-CB1A-98D8-84BA1D1241EB}"/>
          </ac:spMkLst>
        </pc:spChg>
        <pc:spChg chg="add mod">
          <ac:chgData name="Pauline Smout" userId="3153cd80-1eee-4546-abae-f15e9d00b721" providerId="ADAL" clId="{547B9B00-4707-4AC8-9FDE-BA0EA9194C65}" dt="2023-01-30T16:35:37.955" v="15972" actId="21"/>
          <ac:spMkLst>
            <pc:docMk/>
            <pc:sldMk cId="283761931" sldId="301"/>
            <ac:spMk id="4" creationId="{548FFA5F-2E10-CB1B-9BBD-6BD578D934A2}"/>
          </ac:spMkLst>
        </pc:spChg>
        <pc:spChg chg="add del">
          <ac:chgData name="Pauline Smout" userId="3153cd80-1eee-4546-abae-f15e9d00b721" providerId="ADAL" clId="{547B9B00-4707-4AC8-9FDE-BA0EA9194C65}" dt="2023-01-25T17:16:07.102" v="541" actId="478"/>
          <ac:spMkLst>
            <pc:docMk/>
            <pc:sldMk cId="283761931" sldId="301"/>
            <ac:spMk id="7" creationId="{2D95F98B-A398-8E28-0B72-62DC1E8B73C1}"/>
          </ac:spMkLst>
        </pc:spChg>
        <pc:spChg chg="mod">
          <ac:chgData name="Pauline Smout" userId="3153cd80-1eee-4546-abae-f15e9d00b721" providerId="ADAL" clId="{547B9B00-4707-4AC8-9FDE-BA0EA9194C65}" dt="2023-01-25T17:19:03.868" v="867"/>
          <ac:spMkLst>
            <pc:docMk/>
            <pc:sldMk cId="283761931" sldId="301"/>
            <ac:spMk id="8" creationId="{63806430-090A-261A-5481-57459F5C7329}"/>
          </ac:spMkLst>
        </pc:spChg>
        <pc:spChg chg="add del mod">
          <ac:chgData name="Pauline Smout" userId="3153cd80-1eee-4546-abae-f15e9d00b721" providerId="ADAL" clId="{547B9B00-4707-4AC8-9FDE-BA0EA9194C65}" dt="2023-01-30T16:35:45.358" v="15974" actId="21"/>
          <ac:spMkLst>
            <pc:docMk/>
            <pc:sldMk cId="283761931" sldId="301"/>
            <ac:spMk id="9" creationId="{A6CB64B7-F71C-F66D-4797-BA55C4943FC4}"/>
          </ac:spMkLst>
        </pc:spChg>
        <pc:picChg chg="del">
          <ac:chgData name="Pauline Smout" userId="3153cd80-1eee-4546-abae-f15e9d00b721" providerId="ADAL" clId="{547B9B00-4707-4AC8-9FDE-BA0EA9194C65}" dt="2023-01-23T10:01:07.314" v="431" actId="478"/>
          <ac:picMkLst>
            <pc:docMk/>
            <pc:sldMk cId="283761931" sldId="301"/>
            <ac:picMk id="2" creationId="{0BA36A98-F780-6608-796F-4D5E2738FEFB}"/>
          </ac:picMkLst>
        </pc:picChg>
        <pc:picChg chg="add del mod modCrop">
          <ac:chgData name="Pauline Smout" userId="3153cd80-1eee-4546-abae-f15e9d00b721" providerId="ADAL" clId="{547B9B00-4707-4AC8-9FDE-BA0EA9194C65}" dt="2023-01-25T18:17:39.145" v="1243" actId="478"/>
          <ac:picMkLst>
            <pc:docMk/>
            <pc:sldMk cId="283761931" sldId="301"/>
            <ac:picMk id="4" creationId="{2CC0FD66-07E8-28E5-81D2-C78CE4FE0931}"/>
          </ac:picMkLst>
        </pc:picChg>
        <pc:picChg chg="add del">
          <ac:chgData name="Pauline Smout" userId="3153cd80-1eee-4546-abae-f15e9d00b721" providerId="ADAL" clId="{547B9B00-4707-4AC8-9FDE-BA0EA9194C65}" dt="2023-01-25T17:16:07.102" v="541" actId="478"/>
          <ac:picMkLst>
            <pc:docMk/>
            <pc:sldMk cId="283761931" sldId="301"/>
            <ac:picMk id="5" creationId="{632163FA-5E1D-736B-79CE-ADF08086A657}"/>
          </ac:picMkLst>
        </pc:picChg>
        <pc:picChg chg="add del">
          <ac:chgData name="Pauline Smout" userId="3153cd80-1eee-4546-abae-f15e9d00b721" providerId="ADAL" clId="{547B9B00-4707-4AC8-9FDE-BA0EA9194C65}" dt="2023-01-25T17:16:07.102" v="541" actId="478"/>
          <ac:picMkLst>
            <pc:docMk/>
            <pc:sldMk cId="283761931" sldId="301"/>
            <ac:picMk id="6" creationId="{CEE9BA91-88F3-3C98-0E73-2E9CDA6DB493}"/>
          </ac:picMkLst>
        </pc:picChg>
      </pc:sldChg>
      <pc:sldChg chg="addSp delSp modSp add del mod">
        <pc:chgData name="Pauline Smout" userId="3153cd80-1eee-4546-abae-f15e9d00b721" providerId="ADAL" clId="{547B9B00-4707-4AC8-9FDE-BA0EA9194C65}" dt="2023-01-29T12:40:15.587" v="5158" actId="47"/>
        <pc:sldMkLst>
          <pc:docMk/>
          <pc:sldMk cId="4277521554" sldId="302"/>
        </pc:sldMkLst>
        <pc:spChg chg="add mod">
          <ac:chgData name="Pauline Smout" userId="3153cd80-1eee-4546-abae-f15e9d00b721" providerId="ADAL" clId="{547B9B00-4707-4AC8-9FDE-BA0EA9194C65}" dt="2023-01-25T18:25:53.905" v="1454" actId="14100"/>
          <ac:spMkLst>
            <pc:docMk/>
            <pc:sldMk cId="4277521554" sldId="302"/>
            <ac:spMk id="2" creationId="{3997F599-9740-A30B-5309-67DE7B17B149}"/>
          </ac:spMkLst>
        </pc:spChg>
        <pc:spChg chg="del">
          <ac:chgData name="Pauline Smout" userId="3153cd80-1eee-4546-abae-f15e9d00b721" providerId="ADAL" clId="{547B9B00-4707-4AC8-9FDE-BA0EA9194C65}" dt="2023-01-23T10:02:40.523" v="472" actId="478"/>
          <ac:spMkLst>
            <pc:docMk/>
            <pc:sldMk cId="4277521554" sldId="302"/>
            <ac:spMk id="3" creationId="{095B6F35-C464-CB1A-98D8-84BA1D1241EB}"/>
          </ac:spMkLst>
        </pc:spChg>
        <pc:spChg chg="add del">
          <ac:chgData name="Pauline Smout" userId="3153cd80-1eee-4546-abae-f15e9d00b721" providerId="ADAL" clId="{547B9B00-4707-4AC8-9FDE-BA0EA9194C65}" dt="2023-01-25T17:16:05.466" v="539" actId="478"/>
          <ac:spMkLst>
            <pc:docMk/>
            <pc:sldMk cId="4277521554" sldId="302"/>
            <ac:spMk id="7" creationId="{2D95F98B-A398-8E28-0B72-62DC1E8B73C1}"/>
          </ac:spMkLst>
        </pc:spChg>
        <pc:spChg chg="mod">
          <ac:chgData name="Pauline Smout" userId="3153cd80-1eee-4546-abae-f15e9d00b721" providerId="ADAL" clId="{547B9B00-4707-4AC8-9FDE-BA0EA9194C65}" dt="2023-01-25T17:19:07.674" v="868"/>
          <ac:spMkLst>
            <pc:docMk/>
            <pc:sldMk cId="4277521554" sldId="302"/>
            <ac:spMk id="8" creationId="{63806430-090A-261A-5481-57459F5C7329}"/>
          </ac:spMkLst>
        </pc:spChg>
        <pc:spChg chg="add del mod">
          <ac:chgData name="Pauline Smout" userId="3153cd80-1eee-4546-abae-f15e9d00b721" providerId="ADAL" clId="{547B9B00-4707-4AC8-9FDE-BA0EA9194C65}" dt="2023-01-23T10:02:42.806" v="473" actId="478"/>
          <ac:spMkLst>
            <pc:docMk/>
            <pc:sldMk cId="4277521554" sldId="302"/>
            <ac:spMk id="9" creationId="{8CE838F2-2EDD-D526-0790-09D57170F075}"/>
          </ac:spMkLst>
        </pc:spChg>
        <pc:spChg chg="add mod">
          <ac:chgData name="Pauline Smout" userId="3153cd80-1eee-4546-abae-f15e9d00b721" providerId="ADAL" clId="{547B9B00-4707-4AC8-9FDE-BA0EA9194C65}" dt="2023-01-23T10:02:54.696" v="475" actId="1076"/>
          <ac:spMkLst>
            <pc:docMk/>
            <pc:sldMk cId="4277521554" sldId="302"/>
            <ac:spMk id="12" creationId="{1B884D81-2085-E5D7-8184-855B31876E06}"/>
          </ac:spMkLst>
        </pc:spChg>
        <pc:spChg chg="add mod">
          <ac:chgData name="Pauline Smout" userId="3153cd80-1eee-4546-abae-f15e9d00b721" providerId="ADAL" clId="{547B9B00-4707-4AC8-9FDE-BA0EA9194C65}" dt="2023-01-23T10:02:54.696" v="475" actId="1076"/>
          <ac:spMkLst>
            <pc:docMk/>
            <pc:sldMk cId="4277521554" sldId="302"/>
            <ac:spMk id="13" creationId="{D8CDDCFD-8F32-D254-90C5-DB6BFD9BE02B}"/>
          </ac:spMkLst>
        </pc:spChg>
        <pc:spChg chg="add mod">
          <ac:chgData name="Pauline Smout" userId="3153cd80-1eee-4546-abae-f15e9d00b721" providerId="ADAL" clId="{547B9B00-4707-4AC8-9FDE-BA0EA9194C65}" dt="2023-01-23T10:02:54.696" v="475" actId="1076"/>
          <ac:spMkLst>
            <pc:docMk/>
            <pc:sldMk cId="4277521554" sldId="302"/>
            <ac:spMk id="14" creationId="{6237377D-47E8-1B5C-3E56-4578A8521F5F}"/>
          </ac:spMkLst>
        </pc:spChg>
        <pc:spChg chg="add mod">
          <ac:chgData name="Pauline Smout" userId="3153cd80-1eee-4546-abae-f15e9d00b721" providerId="ADAL" clId="{547B9B00-4707-4AC8-9FDE-BA0EA9194C65}" dt="2023-01-23T10:02:54.696" v="475" actId="1076"/>
          <ac:spMkLst>
            <pc:docMk/>
            <pc:sldMk cId="4277521554" sldId="302"/>
            <ac:spMk id="15" creationId="{F7DEC1DC-5A3B-19AF-DC90-68F276F4DB2E}"/>
          </ac:spMkLst>
        </pc:spChg>
        <pc:spChg chg="add mod">
          <ac:chgData name="Pauline Smout" userId="3153cd80-1eee-4546-abae-f15e9d00b721" providerId="ADAL" clId="{547B9B00-4707-4AC8-9FDE-BA0EA9194C65}" dt="2023-01-23T10:02:54.696" v="475" actId="1076"/>
          <ac:spMkLst>
            <pc:docMk/>
            <pc:sldMk cId="4277521554" sldId="302"/>
            <ac:spMk id="16" creationId="{D8D522F2-F9D3-A557-63FC-4B3CF1E1A3B7}"/>
          </ac:spMkLst>
        </pc:spChg>
        <pc:spChg chg="add mod">
          <ac:chgData name="Pauline Smout" userId="3153cd80-1eee-4546-abae-f15e9d00b721" providerId="ADAL" clId="{547B9B00-4707-4AC8-9FDE-BA0EA9194C65}" dt="2023-01-23T10:02:54.696" v="475" actId="1076"/>
          <ac:spMkLst>
            <pc:docMk/>
            <pc:sldMk cId="4277521554" sldId="302"/>
            <ac:spMk id="17" creationId="{EDA6EF50-9CC0-4E6F-3B42-74F8E80FFCD2}"/>
          </ac:spMkLst>
        </pc:spChg>
        <pc:spChg chg="add mod">
          <ac:chgData name="Pauline Smout" userId="3153cd80-1eee-4546-abae-f15e9d00b721" providerId="ADAL" clId="{547B9B00-4707-4AC8-9FDE-BA0EA9194C65}" dt="2023-01-23T10:02:54.696" v="475" actId="1076"/>
          <ac:spMkLst>
            <pc:docMk/>
            <pc:sldMk cId="4277521554" sldId="302"/>
            <ac:spMk id="18" creationId="{40C708FF-820C-B1A1-5032-CCE018D093F1}"/>
          </ac:spMkLst>
        </pc:spChg>
        <pc:spChg chg="add mod">
          <ac:chgData name="Pauline Smout" userId="3153cd80-1eee-4546-abae-f15e9d00b721" providerId="ADAL" clId="{547B9B00-4707-4AC8-9FDE-BA0EA9194C65}" dt="2023-01-23T10:02:54.696" v="475" actId="1076"/>
          <ac:spMkLst>
            <pc:docMk/>
            <pc:sldMk cId="4277521554" sldId="302"/>
            <ac:spMk id="19" creationId="{8072F3CE-3FB1-7DD4-B476-50FF754B3E3B}"/>
          </ac:spMkLst>
        </pc:spChg>
        <pc:picChg chg="del">
          <ac:chgData name="Pauline Smout" userId="3153cd80-1eee-4546-abae-f15e9d00b721" providerId="ADAL" clId="{547B9B00-4707-4AC8-9FDE-BA0EA9194C65}" dt="2023-01-23T10:02:40.523" v="472" actId="478"/>
          <ac:picMkLst>
            <pc:docMk/>
            <pc:sldMk cId="4277521554" sldId="302"/>
            <ac:picMk id="4" creationId="{2CC0FD66-07E8-28E5-81D2-C78CE4FE0931}"/>
          </ac:picMkLst>
        </pc:picChg>
        <pc:picChg chg="add del">
          <ac:chgData name="Pauline Smout" userId="3153cd80-1eee-4546-abae-f15e9d00b721" providerId="ADAL" clId="{547B9B00-4707-4AC8-9FDE-BA0EA9194C65}" dt="2023-01-25T17:16:05.466" v="539" actId="478"/>
          <ac:picMkLst>
            <pc:docMk/>
            <pc:sldMk cId="4277521554" sldId="302"/>
            <ac:picMk id="5" creationId="{632163FA-5E1D-736B-79CE-ADF08086A657}"/>
          </ac:picMkLst>
        </pc:picChg>
        <pc:picChg chg="add del">
          <ac:chgData name="Pauline Smout" userId="3153cd80-1eee-4546-abae-f15e9d00b721" providerId="ADAL" clId="{547B9B00-4707-4AC8-9FDE-BA0EA9194C65}" dt="2023-01-25T17:16:05.466" v="539" actId="478"/>
          <ac:picMkLst>
            <pc:docMk/>
            <pc:sldMk cId="4277521554" sldId="302"/>
            <ac:picMk id="6" creationId="{CEE9BA91-88F3-3C98-0E73-2E9CDA6DB493}"/>
          </ac:picMkLst>
        </pc:picChg>
        <pc:picChg chg="add mod">
          <ac:chgData name="Pauline Smout" userId="3153cd80-1eee-4546-abae-f15e9d00b721" providerId="ADAL" clId="{547B9B00-4707-4AC8-9FDE-BA0EA9194C65}" dt="2023-01-23T10:02:54.696" v="475" actId="1076"/>
          <ac:picMkLst>
            <pc:docMk/>
            <pc:sldMk cId="4277521554" sldId="302"/>
            <ac:picMk id="10" creationId="{EB6D23CA-EAE8-150A-404A-5B5433F81B4F}"/>
          </ac:picMkLst>
        </pc:picChg>
      </pc:sldChg>
      <pc:sldChg chg="addSp modSp add mod">
        <pc:chgData name="Pauline Smout" userId="3153cd80-1eee-4546-abae-f15e9d00b721" providerId="ADAL" clId="{547B9B00-4707-4AC8-9FDE-BA0EA9194C65}" dt="2023-01-30T17:26:59.320" v="17684" actId="1076"/>
        <pc:sldMkLst>
          <pc:docMk/>
          <pc:sldMk cId="1984391348" sldId="303"/>
        </pc:sldMkLst>
        <pc:spChg chg="add mod">
          <ac:chgData name="Pauline Smout" userId="3153cd80-1eee-4546-abae-f15e9d00b721" providerId="ADAL" clId="{547B9B00-4707-4AC8-9FDE-BA0EA9194C65}" dt="2023-01-30T17:26:59.320" v="17684" actId="1076"/>
          <ac:spMkLst>
            <pc:docMk/>
            <pc:sldMk cId="1984391348" sldId="303"/>
            <ac:spMk id="2" creationId="{78D58B66-8E55-DBAF-03F1-538B2063A892}"/>
          </ac:spMkLst>
        </pc:spChg>
      </pc:sldChg>
      <pc:sldChg chg="addSp delSp modSp add mod ord">
        <pc:chgData name="Pauline Smout" userId="3153cd80-1eee-4546-abae-f15e9d00b721" providerId="ADAL" clId="{547B9B00-4707-4AC8-9FDE-BA0EA9194C65}" dt="2023-01-30T17:35:56.044" v="17873" actId="11"/>
        <pc:sldMkLst>
          <pc:docMk/>
          <pc:sldMk cId="744461599" sldId="304"/>
        </pc:sldMkLst>
        <pc:spChg chg="add del mod">
          <ac:chgData name="Pauline Smout" userId="3153cd80-1eee-4546-abae-f15e9d00b721" providerId="ADAL" clId="{547B9B00-4707-4AC8-9FDE-BA0EA9194C65}" dt="2023-01-29T12:03:59.219" v="4028" actId="478"/>
          <ac:spMkLst>
            <pc:docMk/>
            <pc:sldMk cId="744461599" sldId="304"/>
            <ac:spMk id="2" creationId="{DF0E8499-3DFA-EC5F-648D-098E1C6C94D4}"/>
          </ac:spMkLst>
        </pc:spChg>
        <pc:spChg chg="add mod">
          <ac:chgData name="Pauline Smout" userId="3153cd80-1eee-4546-abae-f15e9d00b721" providerId="ADAL" clId="{547B9B00-4707-4AC8-9FDE-BA0EA9194C65}" dt="2023-01-30T17:35:56.044" v="17873" actId="11"/>
          <ac:spMkLst>
            <pc:docMk/>
            <pc:sldMk cId="744461599" sldId="304"/>
            <ac:spMk id="3" creationId="{1D543F6D-9413-0CA0-BCCE-A09B2505FB9A}"/>
          </ac:spMkLst>
        </pc:spChg>
        <pc:spChg chg="add mod">
          <ac:chgData name="Pauline Smout" userId="3153cd80-1eee-4546-abae-f15e9d00b721" providerId="ADAL" clId="{547B9B00-4707-4AC8-9FDE-BA0EA9194C65}" dt="2023-01-30T17:27:53.604" v="17710" actId="20577"/>
          <ac:spMkLst>
            <pc:docMk/>
            <pc:sldMk cId="744461599" sldId="304"/>
            <ac:spMk id="4" creationId="{DF2CF659-274D-28CA-F7F3-A7217540A174}"/>
          </ac:spMkLst>
        </pc:spChg>
        <pc:spChg chg="mod">
          <ac:chgData name="Pauline Smout" userId="3153cd80-1eee-4546-abae-f15e9d00b721" providerId="ADAL" clId="{547B9B00-4707-4AC8-9FDE-BA0EA9194C65}" dt="2023-01-25T17:20:54.516" v="906" actId="20577"/>
          <ac:spMkLst>
            <pc:docMk/>
            <pc:sldMk cId="744461599" sldId="304"/>
            <ac:spMk id="8" creationId="{63806430-090A-261A-5481-57459F5C7329}"/>
          </ac:spMkLst>
        </pc:spChg>
      </pc:sldChg>
      <pc:sldChg chg="addSp delSp modSp add mod">
        <pc:chgData name="Pauline Smout" userId="3153cd80-1eee-4546-abae-f15e9d00b721" providerId="ADAL" clId="{547B9B00-4707-4AC8-9FDE-BA0EA9194C65}" dt="2023-02-02T13:08:37.596" v="19115"/>
        <pc:sldMkLst>
          <pc:docMk/>
          <pc:sldMk cId="1939323085" sldId="305"/>
        </pc:sldMkLst>
        <pc:spChg chg="add mod">
          <ac:chgData name="Pauline Smout" userId="3153cd80-1eee-4546-abae-f15e9d00b721" providerId="ADAL" clId="{547B9B00-4707-4AC8-9FDE-BA0EA9194C65}" dt="2023-01-30T16:48:45.808" v="16979" actId="20577"/>
          <ac:spMkLst>
            <pc:docMk/>
            <pc:sldMk cId="1939323085" sldId="305"/>
            <ac:spMk id="2" creationId="{FB26B996-F76D-CCFC-DF73-F1B5C4EB47FF}"/>
          </ac:spMkLst>
        </pc:spChg>
        <pc:spChg chg="mod">
          <ac:chgData name="Pauline Smout" userId="3153cd80-1eee-4546-abae-f15e9d00b721" providerId="ADAL" clId="{547B9B00-4707-4AC8-9FDE-BA0EA9194C65}" dt="2023-01-30T16:26:45.192" v="15014" actId="790"/>
          <ac:spMkLst>
            <pc:docMk/>
            <pc:sldMk cId="1939323085" sldId="305"/>
            <ac:spMk id="3" creationId="{095B6F35-C464-CB1A-98D8-84BA1D1241EB}"/>
          </ac:spMkLst>
        </pc:spChg>
        <pc:spChg chg="add mod">
          <ac:chgData name="Pauline Smout" userId="3153cd80-1eee-4546-abae-f15e9d00b721" providerId="ADAL" clId="{547B9B00-4707-4AC8-9FDE-BA0EA9194C65}" dt="2023-01-30T12:57:54.663" v="11480" actId="1076"/>
          <ac:spMkLst>
            <pc:docMk/>
            <pc:sldMk cId="1939323085" sldId="305"/>
            <ac:spMk id="4" creationId="{0AEDAB1A-A95D-45E7-5DD2-6DB79ADC1AB9}"/>
          </ac:spMkLst>
        </pc:spChg>
        <pc:spChg chg="add mod">
          <ac:chgData name="Pauline Smout" userId="3153cd80-1eee-4546-abae-f15e9d00b721" providerId="ADAL" clId="{547B9B00-4707-4AC8-9FDE-BA0EA9194C65}" dt="2023-01-30T12:57:54.663" v="11480" actId="1076"/>
          <ac:spMkLst>
            <pc:docMk/>
            <pc:sldMk cId="1939323085" sldId="305"/>
            <ac:spMk id="9" creationId="{E158EBD8-D5EE-6A2A-DCD3-48AD03991F9C}"/>
          </ac:spMkLst>
        </pc:spChg>
        <pc:spChg chg="add mod">
          <ac:chgData name="Pauline Smout" userId="3153cd80-1eee-4546-abae-f15e9d00b721" providerId="ADAL" clId="{547B9B00-4707-4AC8-9FDE-BA0EA9194C65}" dt="2023-01-30T16:26:45.192" v="15014" actId="790"/>
          <ac:spMkLst>
            <pc:docMk/>
            <pc:sldMk cId="1939323085" sldId="305"/>
            <ac:spMk id="10" creationId="{18B36C14-70B7-08AE-8B4F-909DCED30C8E}"/>
          </ac:spMkLst>
        </pc:spChg>
        <pc:spChg chg="add mod">
          <ac:chgData name="Pauline Smout" userId="3153cd80-1eee-4546-abae-f15e9d00b721" providerId="ADAL" clId="{547B9B00-4707-4AC8-9FDE-BA0EA9194C65}" dt="2023-02-02T13:08:37.596" v="19115"/>
          <ac:spMkLst>
            <pc:docMk/>
            <pc:sldMk cId="1939323085" sldId="305"/>
            <ac:spMk id="12" creationId="{7CA6262A-2683-47E0-83EE-6AFCF80F1359}"/>
          </ac:spMkLst>
        </pc:spChg>
        <pc:picChg chg="del">
          <ac:chgData name="Pauline Smout" userId="3153cd80-1eee-4546-abae-f15e9d00b721" providerId="ADAL" clId="{547B9B00-4707-4AC8-9FDE-BA0EA9194C65}" dt="2023-01-25T18:18:27.955" v="1255" actId="478"/>
          <ac:picMkLst>
            <pc:docMk/>
            <pc:sldMk cId="1939323085" sldId="305"/>
            <ac:picMk id="2" creationId="{D4FF596A-69F6-4AC9-498E-9BFA8FD6027D}"/>
          </ac:picMkLst>
        </pc:picChg>
      </pc:sldChg>
      <pc:sldChg chg="addSp delSp modSp add del mod ord">
        <pc:chgData name="Pauline Smout" userId="3153cd80-1eee-4546-abae-f15e9d00b721" providerId="ADAL" clId="{547B9B00-4707-4AC8-9FDE-BA0EA9194C65}" dt="2023-01-30T16:38:34.783" v="16034" actId="47"/>
        <pc:sldMkLst>
          <pc:docMk/>
          <pc:sldMk cId="2471442480" sldId="306"/>
        </pc:sldMkLst>
        <pc:spChg chg="add del mod">
          <ac:chgData name="Pauline Smout" userId="3153cd80-1eee-4546-abae-f15e9d00b721" providerId="ADAL" clId="{547B9B00-4707-4AC8-9FDE-BA0EA9194C65}" dt="2023-01-30T16:38:02.159" v="16028" actId="21"/>
          <ac:spMkLst>
            <pc:docMk/>
            <pc:sldMk cId="2471442480" sldId="306"/>
            <ac:spMk id="2" creationId="{B5A36853-2075-7940-3B47-FBA739C2F83E}"/>
          </ac:spMkLst>
        </pc:spChg>
        <pc:spChg chg="add del mod">
          <ac:chgData name="Pauline Smout" userId="3153cd80-1eee-4546-abae-f15e9d00b721" providerId="ADAL" clId="{547B9B00-4707-4AC8-9FDE-BA0EA9194C65}" dt="2023-01-30T16:38:02.159" v="16028" actId="21"/>
          <ac:spMkLst>
            <pc:docMk/>
            <pc:sldMk cId="2471442480" sldId="306"/>
            <ac:spMk id="3" creationId="{8AD84217-020D-433C-A119-803C0468192A}"/>
          </ac:spMkLst>
        </pc:spChg>
        <pc:spChg chg="add del mod">
          <ac:chgData name="Pauline Smout" userId="3153cd80-1eee-4546-abae-f15e9d00b721" providerId="ADAL" clId="{547B9B00-4707-4AC8-9FDE-BA0EA9194C65}" dt="2023-01-30T16:38:02.159" v="16028" actId="21"/>
          <ac:spMkLst>
            <pc:docMk/>
            <pc:sldMk cId="2471442480" sldId="306"/>
            <ac:spMk id="4" creationId="{8A57EAD6-19BA-F200-222A-09CB92A6EB55}"/>
          </ac:spMkLst>
        </pc:spChg>
        <pc:spChg chg="add del mod">
          <ac:chgData name="Pauline Smout" userId="3153cd80-1eee-4546-abae-f15e9d00b721" providerId="ADAL" clId="{547B9B00-4707-4AC8-9FDE-BA0EA9194C65}" dt="2023-01-30T16:38:02.159" v="16028" actId="21"/>
          <ac:spMkLst>
            <pc:docMk/>
            <pc:sldMk cId="2471442480" sldId="306"/>
            <ac:spMk id="9" creationId="{8F6949D6-A7F4-DC49-389F-A7774FB323D2}"/>
          </ac:spMkLst>
        </pc:spChg>
        <pc:spChg chg="add del mod">
          <ac:chgData name="Pauline Smout" userId="3153cd80-1eee-4546-abae-f15e9d00b721" providerId="ADAL" clId="{547B9B00-4707-4AC8-9FDE-BA0EA9194C65}" dt="2023-01-25T18:21:59.610" v="1261" actId="478"/>
          <ac:spMkLst>
            <pc:docMk/>
            <pc:sldMk cId="2471442480" sldId="306"/>
            <ac:spMk id="10" creationId="{EFF94BC0-9E79-568B-124A-20242F6E6022}"/>
          </ac:spMkLst>
        </pc:spChg>
        <pc:spChg chg="add del mod">
          <ac:chgData name="Pauline Smout" userId="3153cd80-1eee-4546-abae-f15e9d00b721" providerId="ADAL" clId="{547B9B00-4707-4AC8-9FDE-BA0EA9194C65}" dt="2023-01-30T16:38:24.597" v="16031" actId="21"/>
          <ac:spMkLst>
            <pc:docMk/>
            <pc:sldMk cId="2471442480" sldId="306"/>
            <ac:spMk id="12" creationId="{ED856142-5B55-4FA3-D512-D1AF6EB72BB9}"/>
          </ac:spMkLst>
        </pc:spChg>
        <pc:spChg chg="add mod">
          <ac:chgData name="Pauline Smout" userId="3153cd80-1eee-4546-abae-f15e9d00b721" providerId="ADAL" clId="{547B9B00-4707-4AC8-9FDE-BA0EA9194C65}" dt="2023-01-30T16:38:24.597" v="16031" actId="21"/>
          <ac:spMkLst>
            <pc:docMk/>
            <pc:sldMk cId="2471442480" sldId="306"/>
            <ac:spMk id="13" creationId="{B672D97E-FC21-E0EB-0C44-C050228A56AF}"/>
          </ac:spMkLst>
        </pc:spChg>
        <pc:spChg chg="del mod">
          <ac:chgData name="Pauline Smout" userId="3153cd80-1eee-4546-abae-f15e9d00b721" providerId="ADAL" clId="{547B9B00-4707-4AC8-9FDE-BA0EA9194C65}" dt="2023-01-30T16:38:02.159" v="16028" actId="21"/>
          <ac:spMkLst>
            <pc:docMk/>
            <pc:sldMk cId="2471442480" sldId="306"/>
            <ac:spMk id="15" creationId="{54016651-8580-11D9-CA85-E55F221ED463}"/>
          </ac:spMkLst>
        </pc:spChg>
        <pc:spChg chg="del mod">
          <ac:chgData name="Pauline Smout" userId="3153cd80-1eee-4546-abae-f15e9d00b721" providerId="ADAL" clId="{547B9B00-4707-4AC8-9FDE-BA0EA9194C65}" dt="2023-01-30T16:38:02.159" v="16028" actId="21"/>
          <ac:spMkLst>
            <pc:docMk/>
            <pc:sldMk cId="2471442480" sldId="306"/>
            <ac:spMk id="16" creationId="{12B0C176-19A6-C6F4-4287-B870D12AEE8D}"/>
          </ac:spMkLst>
        </pc:spChg>
        <pc:spChg chg="del mod">
          <ac:chgData name="Pauline Smout" userId="3153cd80-1eee-4546-abae-f15e9d00b721" providerId="ADAL" clId="{547B9B00-4707-4AC8-9FDE-BA0EA9194C65}" dt="2023-01-30T16:38:02.159" v="16028" actId="21"/>
          <ac:spMkLst>
            <pc:docMk/>
            <pc:sldMk cId="2471442480" sldId="306"/>
            <ac:spMk id="17" creationId="{544D8853-FF51-CBB5-9235-78E4FB8B70B4}"/>
          </ac:spMkLst>
        </pc:spChg>
        <pc:spChg chg="del mod">
          <ac:chgData name="Pauline Smout" userId="3153cd80-1eee-4546-abae-f15e9d00b721" providerId="ADAL" clId="{547B9B00-4707-4AC8-9FDE-BA0EA9194C65}" dt="2023-01-30T16:38:02.159" v="16028" actId="21"/>
          <ac:spMkLst>
            <pc:docMk/>
            <pc:sldMk cId="2471442480" sldId="306"/>
            <ac:spMk id="18" creationId="{C9A95D62-A253-35A8-77F8-AD3229116635}"/>
          </ac:spMkLst>
        </pc:spChg>
        <pc:spChg chg="del mod">
          <ac:chgData name="Pauline Smout" userId="3153cd80-1eee-4546-abae-f15e9d00b721" providerId="ADAL" clId="{547B9B00-4707-4AC8-9FDE-BA0EA9194C65}" dt="2023-01-30T16:38:02.159" v="16028" actId="21"/>
          <ac:spMkLst>
            <pc:docMk/>
            <pc:sldMk cId="2471442480" sldId="306"/>
            <ac:spMk id="19" creationId="{FB8A0C42-A201-E02A-C28E-DA80968DAC7C}"/>
          </ac:spMkLst>
        </pc:spChg>
      </pc:sldChg>
      <pc:sldChg chg="addSp delSp modSp add mod">
        <pc:chgData name="Pauline Smout" userId="3153cd80-1eee-4546-abae-f15e9d00b721" providerId="ADAL" clId="{547B9B00-4707-4AC8-9FDE-BA0EA9194C65}" dt="2023-01-30T17:36:23.429" v="17875" actId="403"/>
        <pc:sldMkLst>
          <pc:docMk/>
          <pc:sldMk cId="1048855800" sldId="307"/>
        </pc:sldMkLst>
        <pc:spChg chg="add del mod">
          <ac:chgData name="Pauline Smout" userId="3153cd80-1eee-4546-abae-f15e9d00b721" providerId="ADAL" clId="{547B9B00-4707-4AC8-9FDE-BA0EA9194C65}" dt="2023-01-26T10:56:00.150" v="1995"/>
          <ac:spMkLst>
            <pc:docMk/>
            <pc:sldMk cId="1048855800" sldId="307"/>
            <ac:spMk id="2" creationId="{8A05263A-9DAA-AA82-9F4F-D614276CF92B}"/>
          </ac:spMkLst>
        </pc:spChg>
        <pc:spChg chg="add del mod">
          <ac:chgData name="Pauline Smout" userId="3153cd80-1eee-4546-abae-f15e9d00b721" providerId="ADAL" clId="{547B9B00-4707-4AC8-9FDE-BA0EA9194C65}" dt="2023-01-26T10:56:00.150" v="1995"/>
          <ac:spMkLst>
            <pc:docMk/>
            <pc:sldMk cId="1048855800" sldId="307"/>
            <ac:spMk id="3" creationId="{3A8F9D96-136E-52AB-6685-381FF9D24259}"/>
          </ac:spMkLst>
        </pc:spChg>
        <pc:spChg chg="add del mod">
          <ac:chgData name="Pauline Smout" userId="3153cd80-1eee-4546-abae-f15e9d00b721" providerId="ADAL" clId="{547B9B00-4707-4AC8-9FDE-BA0EA9194C65}" dt="2023-01-26T10:56:00.150" v="1995"/>
          <ac:spMkLst>
            <pc:docMk/>
            <pc:sldMk cId="1048855800" sldId="307"/>
            <ac:spMk id="4" creationId="{03E0D8A6-E8DB-0987-38FD-3F58DAAA42E9}"/>
          </ac:spMkLst>
        </pc:spChg>
        <pc:spChg chg="add del mod">
          <ac:chgData name="Pauline Smout" userId="3153cd80-1eee-4546-abae-f15e9d00b721" providerId="ADAL" clId="{547B9B00-4707-4AC8-9FDE-BA0EA9194C65}" dt="2023-01-26T10:56:00.150" v="1995"/>
          <ac:spMkLst>
            <pc:docMk/>
            <pc:sldMk cId="1048855800" sldId="307"/>
            <ac:spMk id="9" creationId="{C2A5156E-2CB5-59AA-C3A8-0C5FD300EBAE}"/>
          </ac:spMkLst>
        </pc:spChg>
        <pc:spChg chg="add mod">
          <ac:chgData name="Pauline Smout" userId="3153cd80-1eee-4546-abae-f15e9d00b721" providerId="ADAL" clId="{547B9B00-4707-4AC8-9FDE-BA0EA9194C65}" dt="2023-01-26T11:04:38.323" v="2211" actId="20577"/>
          <ac:spMkLst>
            <pc:docMk/>
            <pc:sldMk cId="1048855800" sldId="307"/>
            <ac:spMk id="10" creationId="{304454B1-0CB3-25F9-9D48-B414C85B64F5}"/>
          </ac:spMkLst>
        </pc:spChg>
        <pc:spChg chg="add mod">
          <ac:chgData name="Pauline Smout" userId="3153cd80-1eee-4546-abae-f15e9d00b721" providerId="ADAL" clId="{547B9B00-4707-4AC8-9FDE-BA0EA9194C65}" dt="2023-01-30T17:36:23.429" v="17875" actId="403"/>
          <ac:spMkLst>
            <pc:docMk/>
            <pc:sldMk cId="1048855800" sldId="307"/>
            <ac:spMk id="12" creationId="{0FA2F9A9-220F-296A-A7CF-10FC850D4242}"/>
          </ac:spMkLst>
        </pc:spChg>
        <pc:spChg chg="add mod">
          <ac:chgData name="Pauline Smout" userId="3153cd80-1eee-4546-abae-f15e9d00b721" providerId="ADAL" clId="{547B9B00-4707-4AC8-9FDE-BA0EA9194C65}" dt="2023-01-26T11:04:44.020" v="2234" actId="20577"/>
          <ac:spMkLst>
            <pc:docMk/>
            <pc:sldMk cId="1048855800" sldId="307"/>
            <ac:spMk id="13" creationId="{06D00647-C846-1C89-7B7B-E9410D9329E9}"/>
          </ac:spMkLst>
        </pc:spChg>
        <pc:spChg chg="add mod">
          <ac:chgData name="Pauline Smout" userId="3153cd80-1eee-4546-abae-f15e9d00b721" providerId="ADAL" clId="{547B9B00-4707-4AC8-9FDE-BA0EA9194C65}" dt="2023-01-30T17:36:23.429" v="17875" actId="403"/>
          <ac:spMkLst>
            <pc:docMk/>
            <pc:sldMk cId="1048855800" sldId="307"/>
            <ac:spMk id="14" creationId="{839731D4-752C-F3FB-411D-FD973241967C}"/>
          </ac:spMkLst>
        </pc:spChg>
        <pc:spChg chg="add del mod">
          <ac:chgData name="Pauline Smout" userId="3153cd80-1eee-4546-abae-f15e9d00b721" providerId="ADAL" clId="{547B9B00-4707-4AC8-9FDE-BA0EA9194C65}" dt="2023-01-29T17:52:47.741" v="6950" actId="478"/>
          <ac:spMkLst>
            <pc:docMk/>
            <pc:sldMk cId="1048855800" sldId="307"/>
            <ac:spMk id="15" creationId="{49FE3B10-3365-26CC-12EB-764B04A4DCED}"/>
          </ac:spMkLst>
        </pc:spChg>
        <pc:spChg chg="del mod">
          <ac:chgData name="Pauline Smout" userId="3153cd80-1eee-4546-abae-f15e9d00b721" providerId="ADAL" clId="{547B9B00-4707-4AC8-9FDE-BA0EA9194C65}" dt="2023-01-26T10:55:32.962" v="1991" actId="478"/>
          <ac:spMkLst>
            <pc:docMk/>
            <pc:sldMk cId="1048855800" sldId="307"/>
            <ac:spMk id="27" creationId="{F674837F-E046-5247-24EF-FD714575E439}"/>
          </ac:spMkLst>
        </pc:spChg>
      </pc:sldChg>
      <pc:sldChg chg="addSp delSp modSp add mod">
        <pc:chgData name="Pauline Smout" userId="3153cd80-1eee-4546-abae-f15e9d00b721" providerId="ADAL" clId="{547B9B00-4707-4AC8-9FDE-BA0EA9194C65}" dt="2023-01-30T15:02:09.729" v="11498" actId="790"/>
        <pc:sldMkLst>
          <pc:docMk/>
          <pc:sldMk cId="381163979" sldId="308"/>
        </pc:sldMkLst>
        <pc:spChg chg="mod">
          <ac:chgData name="Pauline Smout" userId="3153cd80-1eee-4546-abae-f15e9d00b721" providerId="ADAL" clId="{547B9B00-4707-4AC8-9FDE-BA0EA9194C65}" dt="2023-01-30T15:02:09.729" v="11498" actId="790"/>
          <ac:spMkLst>
            <pc:docMk/>
            <pc:sldMk cId="381163979" sldId="308"/>
            <ac:spMk id="3" creationId="{1D543F6D-9413-0CA0-BCCE-A09B2505FB9A}"/>
          </ac:spMkLst>
        </pc:spChg>
        <pc:graphicFrameChg chg="add del mod modGraphic">
          <ac:chgData name="Pauline Smout" userId="3153cd80-1eee-4546-abae-f15e9d00b721" providerId="ADAL" clId="{547B9B00-4707-4AC8-9FDE-BA0EA9194C65}" dt="2023-01-30T08:34:58.558" v="10744" actId="1076"/>
          <ac:graphicFrameMkLst>
            <pc:docMk/>
            <pc:sldMk cId="381163979" sldId="308"/>
            <ac:graphicFrameMk id="2" creationId="{48A031E4-9A38-CAC0-4F25-BCCE6928C72D}"/>
          </ac:graphicFrameMkLst>
        </pc:graphicFrameChg>
      </pc:sldChg>
      <pc:sldChg chg="add del">
        <pc:chgData name="Pauline Smout" userId="3153cd80-1eee-4546-abae-f15e9d00b721" providerId="ADAL" clId="{547B9B00-4707-4AC8-9FDE-BA0EA9194C65}" dt="2023-01-26T10:58:05.930" v="2056" actId="47"/>
        <pc:sldMkLst>
          <pc:docMk/>
          <pc:sldMk cId="839669071" sldId="308"/>
        </pc:sldMkLst>
      </pc:sldChg>
      <pc:sldChg chg="addSp delSp modSp add mod">
        <pc:chgData name="Pauline Smout" userId="3153cd80-1eee-4546-abae-f15e9d00b721" providerId="ADAL" clId="{547B9B00-4707-4AC8-9FDE-BA0EA9194C65}" dt="2023-02-13T09:49:18.088" v="26849" actId="20577"/>
        <pc:sldMkLst>
          <pc:docMk/>
          <pc:sldMk cId="3401430940" sldId="309"/>
        </pc:sldMkLst>
        <pc:spChg chg="mod">
          <ac:chgData name="Pauline Smout" userId="3153cd80-1eee-4546-abae-f15e9d00b721" providerId="ADAL" clId="{547B9B00-4707-4AC8-9FDE-BA0EA9194C65}" dt="2023-01-30T12:54:49.525" v="11340" actId="20577"/>
          <ac:spMkLst>
            <pc:docMk/>
            <pc:sldMk cId="3401430940" sldId="309"/>
            <ac:spMk id="3" creationId="{1D543F6D-9413-0CA0-BCCE-A09B2505FB9A}"/>
          </ac:spMkLst>
        </pc:spChg>
        <pc:spChg chg="add del mod">
          <ac:chgData name="Pauline Smout" userId="3153cd80-1eee-4546-abae-f15e9d00b721" providerId="ADAL" clId="{547B9B00-4707-4AC8-9FDE-BA0EA9194C65}" dt="2023-01-30T16:19:08.324" v="14656" actId="478"/>
          <ac:spMkLst>
            <pc:docMk/>
            <pc:sldMk cId="3401430940" sldId="309"/>
            <ac:spMk id="4" creationId="{BD433853-BF90-621F-6583-A7A20009A0CB}"/>
          </ac:spMkLst>
        </pc:spChg>
        <pc:spChg chg="add del mod">
          <ac:chgData name="Pauline Smout" userId="3153cd80-1eee-4546-abae-f15e9d00b721" providerId="ADAL" clId="{547B9B00-4707-4AC8-9FDE-BA0EA9194C65}" dt="2023-02-13T08:57:50.660" v="26355" actId="478"/>
          <ac:spMkLst>
            <pc:docMk/>
            <pc:sldMk cId="3401430940" sldId="309"/>
            <ac:spMk id="4" creationId="{C0E9E34B-8ABF-AA8C-30F0-24FB8DB52629}"/>
          </ac:spMkLst>
        </pc:spChg>
        <pc:graphicFrameChg chg="mod modGraphic">
          <ac:chgData name="Pauline Smout" userId="3153cd80-1eee-4546-abae-f15e9d00b721" providerId="ADAL" clId="{547B9B00-4707-4AC8-9FDE-BA0EA9194C65}" dt="2023-02-13T09:49:18.088" v="26849" actId="20577"/>
          <ac:graphicFrameMkLst>
            <pc:docMk/>
            <pc:sldMk cId="3401430940" sldId="309"/>
            <ac:graphicFrameMk id="2" creationId="{48A031E4-9A38-CAC0-4F25-BCCE6928C72D}"/>
          </ac:graphicFrameMkLst>
        </pc:graphicFrameChg>
      </pc:sldChg>
      <pc:sldChg chg="addSp delSp modSp add mod addCm delCm">
        <pc:chgData name="Pauline Smout" userId="3153cd80-1eee-4546-abae-f15e9d00b721" providerId="ADAL" clId="{547B9B00-4707-4AC8-9FDE-BA0EA9194C65}" dt="2023-02-02T17:39:10.125" v="25249" actId="20577"/>
        <pc:sldMkLst>
          <pc:docMk/>
          <pc:sldMk cId="550162365" sldId="310"/>
        </pc:sldMkLst>
        <pc:spChg chg="add del mod">
          <ac:chgData name="Pauline Smout" userId="3153cd80-1eee-4546-abae-f15e9d00b721" providerId="ADAL" clId="{547B9B00-4707-4AC8-9FDE-BA0EA9194C65}" dt="2023-01-30T08:27:52.450" v="10608" actId="478"/>
          <ac:spMkLst>
            <pc:docMk/>
            <pc:sldMk cId="550162365" sldId="310"/>
            <ac:spMk id="2" creationId="{88E42FD0-83F9-0BB8-B2BF-0A98EFB4F996}"/>
          </ac:spMkLst>
        </pc:spChg>
        <pc:spChg chg="mod">
          <ac:chgData name="Pauline Smout" userId="3153cd80-1eee-4546-abae-f15e9d00b721" providerId="ADAL" clId="{547B9B00-4707-4AC8-9FDE-BA0EA9194C65}" dt="2023-02-02T17:39:10.125" v="25249" actId="20577"/>
          <ac:spMkLst>
            <pc:docMk/>
            <pc:sldMk cId="550162365" sldId="310"/>
            <ac:spMk id="3" creationId="{095B6F35-C464-CB1A-98D8-84BA1D1241EB}"/>
          </ac:spMkLst>
        </pc:spChg>
        <pc:spChg chg="mod">
          <ac:chgData name="Pauline Smout" userId="3153cd80-1eee-4546-abae-f15e9d00b721" providerId="ADAL" clId="{547B9B00-4707-4AC8-9FDE-BA0EA9194C65}" dt="2023-01-30T07:22:12.533" v="7456" actId="20577"/>
          <ac:spMkLst>
            <pc:docMk/>
            <pc:sldMk cId="550162365" sldId="310"/>
            <ac:spMk id="8" creationId="{63806430-090A-261A-5481-57459F5C7329}"/>
          </ac:spMkLst>
        </pc:spChg>
        <pc:extLst>
          <p:ext xmlns:p="http://schemas.openxmlformats.org/presentationml/2006/main" uri="{D6D511B9-2390-475A-947B-AFAB55BFBCF1}">
            <pc226:cmChg xmlns:pc226="http://schemas.microsoft.com/office/powerpoint/2022/06/main/command" chg="add del">
              <pc226:chgData name="Pauline Smout" userId="3153cd80-1eee-4546-abae-f15e9d00b721" providerId="ADAL" clId="{547B9B00-4707-4AC8-9FDE-BA0EA9194C65}" dt="2023-02-02T12:39:02.373" v="19101"/>
              <pc2:cmMkLst xmlns:pc2="http://schemas.microsoft.com/office/powerpoint/2019/9/main/command">
                <pc:docMk/>
                <pc:sldMk cId="550162365" sldId="310"/>
                <pc2:cmMk id="{95532432-349B-4472-9FCC-356420FC66F8}"/>
              </pc2:cmMkLst>
            </pc226:cmChg>
          </p:ext>
        </pc:extLst>
      </pc:sldChg>
      <pc:sldChg chg="addSp delSp modSp add mod addCm delCm">
        <pc:chgData name="Pauline Smout" userId="3153cd80-1eee-4546-abae-f15e9d00b721" providerId="ADAL" clId="{547B9B00-4707-4AC8-9FDE-BA0EA9194C65}" dt="2023-01-30T17:30:04.013" v="17784"/>
        <pc:sldMkLst>
          <pc:docMk/>
          <pc:sldMk cId="1662741290" sldId="311"/>
        </pc:sldMkLst>
        <pc:spChg chg="mod">
          <ac:chgData name="Pauline Smout" userId="3153cd80-1eee-4546-abae-f15e9d00b721" providerId="ADAL" clId="{547B9B00-4707-4AC8-9FDE-BA0EA9194C65}" dt="2023-01-29T12:34:06.380" v="5075" actId="164"/>
          <ac:spMkLst>
            <pc:docMk/>
            <pc:sldMk cId="1662741290" sldId="311"/>
            <ac:spMk id="2" creationId="{B5A36853-2075-7940-3B47-FBA739C2F83E}"/>
          </ac:spMkLst>
        </pc:spChg>
        <pc:spChg chg="mod">
          <ac:chgData name="Pauline Smout" userId="3153cd80-1eee-4546-abae-f15e9d00b721" providerId="ADAL" clId="{547B9B00-4707-4AC8-9FDE-BA0EA9194C65}" dt="2023-01-29T12:34:06.380" v="5075" actId="164"/>
          <ac:spMkLst>
            <pc:docMk/>
            <pc:sldMk cId="1662741290" sldId="311"/>
            <ac:spMk id="3" creationId="{8AD84217-020D-433C-A119-803C0468192A}"/>
          </ac:spMkLst>
        </pc:spChg>
        <pc:spChg chg="mod">
          <ac:chgData name="Pauline Smout" userId="3153cd80-1eee-4546-abae-f15e9d00b721" providerId="ADAL" clId="{547B9B00-4707-4AC8-9FDE-BA0EA9194C65}" dt="2023-01-29T12:34:06.380" v="5075" actId="164"/>
          <ac:spMkLst>
            <pc:docMk/>
            <pc:sldMk cId="1662741290" sldId="311"/>
            <ac:spMk id="4" creationId="{8A57EAD6-19BA-F200-222A-09CB92A6EB55}"/>
          </ac:spMkLst>
        </pc:spChg>
        <pc:spChg chg="mod">
          <ac:chgData name="Pauline Smout" userId="3153cd80-1eee-4546-abae-f15e9d00b721" providerId="ADAL" clId="{547B9B00-4707-4AC8-9FDE-BA0EA9194C65}" dt="2023-01-29T12:34:06.380" v="5075" actId="164"/>
          <ac:spMkLst>
            <pc:docMk/>
            <pc:sldMk cId="1662741290" sldId="311"/>
            <ac:spMk id="9" creationId="{8F6949D6-A7F4-DC49-389F-A7774FB323D2}"/>
          </ac:spMkLst>
        </pc:spChg>
        <pc:spChg chg="del">
          <ac:chgData name="Pauline Smout" userId="3153cd80-1eee-4546-abae-f15e9d00b721" providerId="ADAL" clId="{547B9B00-4707-4AC8-9FDE-BA0EA9194C65}" dt="2023-01-29T12:33:56.228" v="5073" actId="478"/>
          <ac:spMkLst>
            <pc:docMk/>
            <pc:sldMk cId="1662741290" sldId="311"/>
            <ac:spMk id="12" creationId="{ED856142-5B55-4FA3-D512-D1AF6EB72BB9}"/>
          </ac:spMkLst>
        </pc:spChg>
        <pc:spChg chg="add del mod">
          <ac:chgData name="Pauline Smout" userId="3153cd80-1eee-4546-abae-f15e9d00b721" providerId="ADAL" clId="{547B9B00-4707-4AC8-9FDE-BA0EA9194C65}" dt="2023-01-29T12:33:59.183" v="5074" actId="478"/>
          <ac:spMkLst>
            <pc:docMk/>
            <pc:sldMk cId="1662741290" sldId="311"/>
            <ac:spMk id="13" creationId="{566A3AD6-A6EA-F2AB-1E0C-E463ED9E966F}"/>
          </ac:spMkLst>
        </pc:spChg>
        <pc:spChg chg="mod">
          <ac:chgData name="Pauline Smout" userId="3153cd80-1eee-4546-abae-f15e9d00b721" providerId="ADAL" clId="{547B9B00-4707-4AC8-9FDE-BA0EA9194C65}" dt="2023-01-29T12:34:06.380" v="5075" actId="164"/>
          <ac:spMkLst>
            <pc:docMk/>
            <pc:sldMk cId="1662741290" sldId="311"/>
            <ac:spMk id="15" creationId="{54016651-8580-11D9-CA85-E55F221ED463}"/>
          </ac:spMkLst>
        </pc:spChg>
        <pc:spChg chg="mod">
          <ac:chgData name="Pauline Smout" userId="3153cd80-1eee-4546-abae-f15e9d00b721" providerId="ADAL" clId="{547B9B00-4707-4AC8-9FDE-BA0EA9194C65}" dt="2023-01-29T12:34:06.380" v="5075" actId="164"/>
          <ac:spMkLst>
            <pc:docMk/>
            <pc:sldMk cId="1662741290" sldId="311"/>
            <ac:spMk id="16" creationId="{12B0C176-19A6-C6F4-4287-B870D12AEE8D}"/>
          </ac:spMkLst>
        </pc:spChg>
        <pc:spChg chg="mod">
          <ac:chgData name="Pauline Smout" userId="3153cd80-1eee-4546-abae-f15e9d00b721" providerId="ADAL" clId="{547B9B00-4707-4AC8-9FDE-BA0EA9194C65}" dt="2023-01-29T12:34:06.380" v="5075" actId="164"/>
          <ac:spMkLst>
            <pc:docMk/>
            <pc:sldMk cId="1662741290" sldId="311"/>
            <ac:spMk id="17" creationId="{544D8853-FF51-CBB5-9235-78E4FB8B70B4}"/>
          </ac:spMkLst>
        </pc:spChg>
        <pc:spChg chg="mod">
          <ac:chgData name="Pauline Smout" userId="3153cd80-1eee-4546-abae-f15e9d00b721" providerId="ADAL" clId="{547B9B00-4707-4AC8-9FDE-BA0EA9194C65}" dt="2023-01-29T12:34:06.380" v="5075" actId="164"/>
          <ac:spMkLst>
            <pc:docMk/>
            <pc:sldMk cId="1662741290" sldId="311"/>
            <ac:spMk id="18" creationId="{C9A95D62-A253-35A8-77F8-AD3229116635}"/>
          </ac:spMkLst>
        </pc:spChg>
        <pc:spChg chg="mod">
          <ac:chgData name="Pauline Smout" userId="3153cd80-1eee-4546-abae-f15e9d00b721" providerId="ADAL" clId="{547B9B00-4707-4AC8-9FDE-BA0EA9194C65}" dt="2023-01-29T12:34:06.380" v="5075" actId="164"/>
          <ac:spMkLst>
            <pc:docMk/>
            <pc:sldMk cId="1662741290" sldId="311"/>
            <ac:spMk id="19" creationId="{FB8A0C42-A201-E02A-C28E-DA80968DAC7C}"/>
          </ac:spMkLst>
        </pc:spChg>
        <pc:spChg chg="add mod">
          <ac:chgData name="Pauline Smout" userId="3153cd80-1eee-4546-abae-f15e9d00b721" providerId="ADAL" clId="{547B9B00-4707-4AC8-9FDE-BA0EA9194C65}" dt="2023-01-30T07:31:13.960" v="8769" actId="6549"/>
          <ac:spMkLst>
            <pc:docMk/>
            <pc:sldMk cId="1662741290" sldId="311"/>
            <ac:spMk id="20" creationId="{BDE962A2-BB72-49F7-65C2-AC672DB89E02}"/>
          </ac:spMkLst>
        </pc:spChg>
        <pc:spChg chg="add mod">
          <ac:chgData name="Pauline Smout" userId="3153cd80-1eee-4546-abae-f15e9d00b721" providerId="ADAL" clId="{547B9B00-4707-4AC8-9FDE-BA0EA9194C65}" dt="2023-01-30T07:18:58.780" v="7358" actId="20577"/>
          <ac:spMkLst>
            <pc:docMk/>
            <pc:sldMk cId="1662741290" sldId="311"/>
            <ac:spMk id="21" creationId="{8D8D5FEC-B288-2C02-FD05-94652816F42E}"/>
          </ac:spMkLst>
        </pc:spChg>
        <pc:spChg chg="add mod">
          <ac:chgData name="Pauline Smout" userId="3153cd80-1eee-4546-abae-f15e9d00b721" providerId="ADAL" clId="{547B9B00-4707-4AC8-9FDE-BA0EA9194C65}" dt="2023-01-30T07:18:55.927" v="7355" actId="20577"/>
          <ac:spMkLst>
            <pc:docMk/>
            <pc:sldMk cId="1662741290" sldId="311"/>
            <ac:spMk id="22" creationId="{50F05E0C-2F9D-7226-51A8-376860003C0D}"/>
          </ac:spMkLst>
        </pc:spChg>
        <pc:spChg chg="add mod">
          <ac:chgData name="Pauline Smout" userId="3153cd80-1eee-4546-abae-f15e9d00b721" providerId="ADAL" clId="{547B9B00-4707-4AC8-9FDE-BA0EA9194C65}" dt="2023-01-30T07:19:06.686" v="7364" actId="20577"/>
          <ac:spMkLst>
            <pc:docMk/>
            <pc:sldMk cId="1662741290" sldId="311"/>
            <ac:spMk id="23" creationId="{8E8C833B-42B2-1392-B61B-05C314F4C97A}"/>
          </ac:spMkLst>
        </pc:spChg>
        <pc:spChg chg="add mod">
          <ac:chgData name="Pauline Smout" userId="3153cd80-1eee-4546-abae-f15e9d00b721" providerId="ADAL" clId="{547B9B00-4707-4AC8-9FDE-BA0EA9194C65}" dt="2023-01-30T07:19:02.842" v="7361" actId="20577"/>
          <ac:spMkLst>
            <pc:docMk/>
            <pc:sldMk cId="1662741290" sldId="311"/>
            <ac:spMk id="24" creationId="{0255CE19-1B97-9FD1-52E1-012B286C4E9D}"/>
          </ac:spMkLst>
        </pc:spChg>
        <pc:grpChg chg="add mod">
          <ac:chgData name="Pauline Smout" userId="3153cd80-1eee-4546-abae-f15e9d00b721" providerId="ADAL" clId="{547B9B00-4707-4AC8-9FDE-BA0EA9194C65}" dt="2023-01-29T12:37:14.578" v="5136" actId="1076"/>
          <ac:grpSpMkLst>
            <pc:docMk/>
            <pc:sldMk cId="1662741290" sldId="311"/>
            <ac:grpSpMk id="14" creationId="{EC4237F6-1ACE-9332-65DC-CC187710CBD0}"/>
          </ac:grpSpMkLst>
        </pc:grpChg>
        <pc:extLst>
          <p:ext xmlns:p="http://schemas.openxmlformats.org/presentationml/2006/main" uri="{D6D511B9-2390-475A-947B-AFAB55BFBCF1}">
            <pc226:cmChg xmlns:pc226="http://schemas.microsoft.com/office/powerpoint/2022/06/main/command" chg="add del">
              <pc226:chgData name="Pauline Smout" userId="3153cd80-1eee-4546-abae-f15e9d00b721" providerId="ADAL" clId="{547B9B00-4707-4AC8-9FDE-BA0EA9194C65}" dt="2023-01-30T17:30:04.013" v="17784"/>
              <pc2:cmMkLst xmlns:pc2="http://schemas.microsoft.com/office/powerpoint/2019/9/main/command">
                <pc:docMk/>
                <pc:sldMk cId="1662741290" sldId="311"/>
                <pc2:cmMk id="{A2F0D0F9-1692-462B-9536-6699226AB729}"/>
              </pc2:cmMkLst>
            </pc226:cmChg>
          </p:ext>
        </pc:extLst>
      </pc:sldChg>
      <pc:sldChg chg="addSp delSp modSp add mod">
        <pc:chgData name="Pauline Smout" userId="3153cd80-1eee-4546-abae-f15e9d00b721" providerId="ADAL" clId="{547B9B00-4707-4AC8-9FDE-BA0EA9194C65}" dt="2023-02-02T13:08:40.566" v="19116"/>
        <pc:sldMkLst>
          <pc:docMk/>
          <pc:sldMk cId="1115553802" sldId="312"/>
        </pc:sldMkLst>
        <pc:spChg chg="mod">
          <ac:chgData name="Pauline Smout" userId="3153cd80-1eee-4546-abae-f15e9d00b721" providerId="ADAL" clId="{547B9B00-4707-4AC8-9FDE-BA0EA9194C65}" dt="2023-01-30T16:50:46.356" v="17067" actId="1076"/>
          <ac:spMkLst>
            <pc:docMk/>
            <pc:sldMk cId="1115553802" sldId="312"/>
            <ac:spMk id="2" creationId="{FB26B996-F76D-CCFC-DF73-F1B5C4EB47FF}"/>
          </ac:spMkLst>
        </pc:spChg>
        <pc:spChg chg="mod">
          <ac:chgData name="Pauline Smout" userId="3153cd80-1eee-4546-abae-f15e9d00b721" providerId="ADAL" clId="{547B9B00-4707-4AC8-9FDE-BA0EA9194C65}" dt="2023-01-30T16:27:12.650" v="15020" actId="113"/>
          <ac:spMkLst>
            <pc:docMk/>
            <pc:sldMk cId="1115553802" sldId="312"/>
            <ac:spMk id="3" creationId="{095B6F35-C464-CB1A-98D8-84BA1D1241EB}"/>
          </ac:spMkLst>
        </pc:spChg>
        <pc:spChg chg="del">
          <ac:chgData name="Pauline Smout" userId="3153cd80-1eee-4546-abae-f15e9d00b721" providerId="ADAL" clId="{547B9B00-4707-4AC8-9FDE-BA0EA9194C65}" dt="2023-01-30T16:28:46.702" v="15161" actId="478"/>
          <ac:spMkLst>
            <pc:docMk/>
            <pc:sldMk cId="1115553802" sldId="312"/>
            <ac:spMk id="4" creationId="{0AEDAB1A-A95D-45E7-5DD2-6DB79ADC1AB9}"/>
          </ac:spMkLst>
        </pc:spChg>
        <pc:spChg chg="del mod">
          <ac:chgData name="Pauline Smout" userId="3153cd80-1eee-4546-abae-f15e9d00b721" providerId="ADAL" clId="{547B9B00-4707-4AC8-9FDE-BA0EA9194C65}" dt="2023-01-30T16:28:45.745" v="15160" actId="478"/>
          <ac:spMkLst>
            <pc:docMk/>
            <pc:sldMk cId="1115553802" sldId="312"/>
            <ac:spMk id="9" creationId="{E158EBD8-D5EE-6A2A-DCD3-48AD03991F9C}"/>
          </ac:spMkLst>
        </pc:spChg>
        <pc:spChg chg="mod">
          <ac:chgData name="Pauline Smout" userId="3153cd80-1eee-4546-abae-f15e9d00b721" providerId="ADAL" clId="{547B9B00-4707-4AC8-9FDE-BA0EA9194C65}" dt="2023-01-30T16:28:09.876" v="15153" actId="20577"/>
          <ac:spMkLst>
            <pc:docMk/>
            <pc:sldMk cId="1115553802" sldId="312"/>
            <ac:spMk id="10" creationId="{18B36C14-70B7-08AE-8B4F-909DCED30C8E}"/>
          </ac:spMkLst>
        </pc:spChg>
        <pc:spChg chg="add mod">
          <ac:chgData name="Pauline Smout" userId="3153cd80-1eee-4546-abae-f15e9d00b721" providerId="ADAL" clId="{547B9B00-4707-4AC8-9FDE-BA0EA9194C65}" dt="2023-01-30T16:28:41.757" v="15158" actId="1076"/>
          <ac:spMkLst>
            <pc:docMk/>
            <pc:sldMk cId="1115553802" sldId="312"/>
            <ac:spMk id="12" creationId="{15347E33-5AB2-ADD8-1D84-245E782F58A5}"/>
          </ac:spMkLst>
        </pc:spChg>
        <pc:spChg chg="add mod">
          <ac:chgData name="Pauline Smout" userId="3153cd80-1eee-4546-abae-f15e9d00b721" providerId="ADAL" clId="{547B9B00-4707-4AC8-9FDE-BA0EA9194C65}" dt="2023-01-30T16:28:41.757" v="15158" actId="1076"/>
          <ac:spMkLst>
            <pc:docMk/>
            <pc:sldMk cId="1115553802" sldId="312"/>
            <ac:spMk id="13" creationId="{7FBCBF6A-068A-F8B8-D5A0-F42ED33430D6}"/>
          </ac:spMkLst>
        </pc:spChg>
        <pc:spChg chg="add mod">
          <ac:chgData name="Pauline Smout" userId="3153cd80-1eee-4546-abae-f15e9d00b721" providerId="ADAL" clId="{547B9B00-4707-4AC8-9FDE-BA0EA9194C65}" dt="2023-02-02T13:08:40.566" v="19116"/>
          <ac:spMkLst>
            <pc:docMk/>
            <pc:sldMk cId="1115553802" sldId="312"/>
            <ac:spMk id="14" creationId="{49BC19E5-CBDC-3DBB-CDD7-079C06D9E594}"/>
          </ac:spMkLst>
        </pc:spChg>
      </pc:sldChg>
      <pc:sldChg chg="addSp delSp modSp add mod">
        <pc:chgData name="Pauline Smout" userId="3153cd80-1eee-4546-abae-f15e9d00b721" providerId="ADAL" clId="{547B9B00-4707-4AC8-9FDE-BA0EA9194C65}" dt="2023-02-02T13:08:43.722" v="19117"/>
        <pc:sldMkLst>
          <pc:docMk/>
          <pc:sldMk cId="2864684694" sldId="313"/>
        </pc:sldMkLst>
        <pc:spChg chg="mod">
          <ac:chgData name="Pauline Smout" userId="3153cd80-1eee-4546-abae-f15e9d00b721" providerId="ADAL" clId="{547B9B00-4707-4AC8-9FDE-BA0EA9194C65}" dt="2023-01-30T16:51:32.044" v="17144" actId="20577"/>
          <ac:spMkLst>
            <pc:docMk/>
            <pc:sldMk cId="2864684694" sldId="313"/>
            <ac:spMk id="2" creationId="{FB26B996-F76D-CCFC-DF73-F1B5C4EB47FF}"/>
          </ac:spMkLst>
        </pc:spChg>
        <pc:spChg chg="mod">
          <ac:chgData name="Pauline Smout" userId="3153cd80-1eee-4546-abae-f15e9d00b721" providerId="ADAL" clId="{547B9B00-4707-4AC8-9FDE-BA0EA9194C65}" dt="2023-01-30T16:34:05.151" v="15805" actId="790"/>
          <ac:spMkLst>
            <pc:docMk/>
            <pc:sldMk cId="2864684694" sldId="313"/>
            <ac:spMk id="3" creationId="{095B6F35-C464-CB1A-98D8-84BA1D1241EB}"/>
          </ac:spMkLst>
        </pc:spChg>
        <pc:spChg chg="add mod">
          <ac:chgData name="Pauline Smout" userId="3153cd80-1eee-4546-abae-f15e9d00b721" providerId="ADAL" clId="{547B9B00-4707-4AC8-9FDE-BA0EA9194C65}" dt="2023-01-30T16:29:45.411" v="15177" actId="1076"/>
          <ac:spMkLst>
            <pc:docMk/>
            <pc:sldMk cId="2864684694" sldId="313"/>
            <ac:spMk id="4" creationId="{70A30EED-F6CD-6881-F92F-67254CDF0834}"/>
          </ac:spMkLst>
        </pc:spChg>
        <pc:spChg chg="add mod">
          <ac:chgData name="Pauline Smout" userId="3153cd80-1eee-4546-abae-f15e9d00b721" providerId="ADAL" clId="{547B9B00-4707-4AC8-9FDE-BA0EA9194C65}" dt="2023-01-30T16:29:45.411" v="15177" actId="1076"/>
          <ac:spMkLst>
            <pc:docMk/>
            <pc:sldMk cId="2864684694" sldId="313"/>
            <ac:spMk id="9" creationId="{C7FD7C34-AE72-B31F-A198-42DE36C715B1}"/>
          </ac:spMkLst>
        </pc:spChg>
        <pc:spChg chg="mod">
          <ac:chgData name="Pauline Smout" userId="3153cd80-1eee-4546-abae-f15e9d00b721" providerId="ADAL" clId="{547B9B00-4707-4AC8-9FDE-BA0EA9194C65}" dt="2023-01-30T16:52:22.955" v="17320" actId="20577"/>
          <ac:spMkLst>
            <pc:docMk/>
            <pc:sldMk cId="2864684694" sldId="313"/>
            <ac:spMk id="10" creationId="{18B36C14-70B7-08AE-8B4F-909DCED30C8E}"/>
          </ac:spMkLst>
        </pc:spChg>
        <pc:spChg chg="del">
          <ac:chgData name="Pauline Smout" userId="3153cd80-1eee-4546-abae-f15e9d00b721" providerId="ADAL" clId="{547B9B00-4707-4AC8-9FDE-BA0EA9194C65}" dt="2023-01-30T16:29:49.103" v="15179" actId="478"/>
          <ac:spMkLst>
            <pc:docMk/>
            <pc:sldMk cId="2864684694" sldId="313"/>
            <ac:spMk id="12" creationId="{15347E33-5AB2-ADD8-1D84-245E782F58A5}"/>
          </ac:spMkLst>
        </pc:spChg>
        <pc:spChg chg="del">
          <ac:chgData name="Pauline Smout" userId="3153cd80-1eee-4546-abae-f15e9d00b721" providerId="ADAL" clId="{547B9B00-4707-4AC8-9FDE-BA0EA9194C65}" dt="2023-01-30T16:29:48.312" v="15178" actId="478"/>
          <ac:spMkLst>
            <pc:docMk/>
            <pc:sldMk cId="2864684694" sldId="313"/>
            <ac:spMk id="13" creationId="{7FBCBF6A-068A-F8B8-D5A0-F42ED33430D6}"/>
          </ac:spMkLst>
        </pc:spChg>
        <pc:spChg chg="add mod">
          <ac:chgData name="Pauline Smout" userId="3153cd80-1eee-4546-abae-f15e9d00b721" providerId="ADAL" clId="{547B9B00-4707-4AC8-9FDE-BA0EA9194C65}" dt="2023-02-02T13:08:43.722" v="19117"/>
          <ac:spMkLst>
            <pc:docMk/>
            <pc:sldMk cId="2864684694" sldId="313"/>
            <ac:spMk id="14" creationId="{2BB09AD9-7F8D-7A90-87BD-7350CB68F380}"/>
          </ac:spMkLst>
        </pc:spChg>
      </pc:sldChg>
      <pc:sldChg chg="addSp delSp modSp add mod">
        <pc:chgData name="Pauline Smout" userId="3153cd80-1eee-4546-abae-f15e9d00b721" providerId="ADAL" clId="{547B9B00-4707-4AC8-9FDE-BA0EA9194C65}" dt="2023-02-02T13:08:47.379" v="19118"/>
        <pc:sldMkLst>
          <pc:docMk/>
          <pc:sldMk cId="1475465662" sldId="314"/>
        </pc:sldMkLst>
        <pc:spChg chg="mod">
          <ac:chgData name="Pauline Smout" userId="3153cd80-1eee-4546-abae-f15e9d00b721" providerId="ADAL" clId="{547B9B00-4707-4AC8-9FDE-BA0EA9194C65}" dt="2023-01-30T16:53:23.526" v="17393" actId="20577"/>
          <ac:spMkLst>
            <pc:docMk/>
            <pc:sldMk cId="1475465662" sldId="314"/>
            <ac:spMk id="2" creationId="{FB26B996-F76D-CCFC-DF73-F1B5C4EB47FF}"/>
          </ac:spMkLst>
        </pc:spChg>
        <pc:spChg chg="mod">
          <ac:chgData name="Pauline Smout" userId="3153cd80-1eee-4546-abae-f15e9d00b721" providerId="ADAL" clId="{547B9B00-4707-4AC8-9FDE-BA0EA9194C65}" dt="2023-01-30T16:35:35.087" v="15971" actId="790"/>
          <ac:spMkLst>
            <pc:docMk/>
            <pc:sldMk cId="1475465662" sldId="314"/>
            <ac:spMk id="3" creationId="{095B6F35-C464-CB1A-98D8-84BA1D1241EB}"/>
          </ac:spMkLst>
        </pc:spChg>
        <pc:spChg chg="del">
          <ac:chgData name="Pauline Smout" userId="3153cd80-1eee-4546-abae-f15e9d00b721" providerId="ADAL" clId="{547B9B00-4707-4AC8-9FDE-BA0EA9194C65}" dt="2023-01-30T16:35:55.476" v="15977" actId="478"/>
          <ac:spMkLst>
            <pc:docMk/>
            <pc:sldMk cId="1475465662" sldId="314"/>
            <ac:spMk id="4" creationId="{70A30EED-F6CD-6881-F92F-67254CDF0834}"/>
          </ac:spMkLst>
        </pc:spChg>
        <pc:spChg chg="mod">
          <ac:chgData name="Pauline Smout" userId="3153cd80-1eee-4546-abae-f15e9d00b721" providerId="ADAL" clId="{547B9B00-4707-4AC8-9FDE-BA0EA9194C65}" dt="2023-01-30T16:36:05.766" v="15990" actId="20577"/>
          <ac:spMkLst>
            <pc:docMk/>
            <pc:sldMk cId="1475465662" sldId="314"/>
            <ac:spMk id="9" creationId="{C7FD7C34-AE72-B31F-A198-42DE36C715B1}"/>
          </ac:spMkLst>
        </pc:spChg>
        <pc:spChg chg="mod">
          <ac:chgData name="Pauline Smout" userId="3153cd80-1eee-4546-abae-f15e9d00b721" providerId="ADAL" clId="{547B9B00-4707-4AC8-9FDE-BA0EA9194C65}" dt="2023-01-30T16:36:52.951" v="16004" actId="790"/>
          <ac:spMkLst>
            <pc:docMk/>
            <pc:sldMk cId="1475465662" sldId="314"/>
            <ac:spMk id="10" creationId="{18B36C14-70B7-08AE-8B4F-909DCED30C8E}"/>
          </ac:spMkLst>
        </pc:spChg>
        <pc:spChg chg="add mod">
          <ac:chgData name="Pauline Smout" userId="3153cd80-1eee-4546-abae-f15e9d00b721" providerId="ADAL" clId="{547B9B00-4707-4AC8-9FDE-BA0EA9194C65}" dt="2023-01-30T16:35:52.441" v="15976" actId="1076"/>
          <ac:spMkLst>
            <pc:docMk/>
            <pc:sldMk cId="1475465662" sldId="314"/>
            <ac:spMk id="12" creationId="{CC31312C-481C-D0B3-21CA-FF0CD620A7BA}"/>
          </ac:spMkLst>
        </pc:spChg>
        <pc:spChg chg="add del mod">
          <ac:chgData name="Pauline Smout" userId="3153cd80-1eee-4546-abae-f15e9d00b721" providerId="ADAL" clId="{547B9B00-4707-4AC8-9FDE-BA0EA9194C65}" dt="2023-01-30T16:35:57.142" v="15978" actId="478"/>
          <ac:spMkLst>
            <pc:docMk/>
            <pc:sldMk cId="1475465662" sldId="314"/>
            <ac:spMk id="13" creationId="{3831E502-4796-1D0C-E8AC-C9AAEC3B9FE7}"/>
          </ac:spMkLst>
        </pc:spChg>
        <pc:spChg chg="add mod">
          <ac:chgData name="Pauline Smout" userId="3153cd80-1eee-4546-abae-f15e9d00b721" providerId="ADAL" clId="{547B9B00-4707-4AC8-9FDE-BA0EA9194C65}" dt="2023-02-02T13:08:47.379" v="19118"/>
          <ac:spMkLst>
            <pc:docMk/>
            <pc:sldMk cId="1475465662" sldId="314"/>
            <ac:spMk id="14" creationId="{FF86AEFE-562C-D50E-D084-C36285CE7B11}"/>
          </ac:spMkLst>
        </pc:spChg>
      </pc:sldChg>
      <pc:sldChg chg="addSp delSp modSp add mod ord">
        <pc:chgData name="Pauline Smout" userId="3153cd80-1eee-4546-abae-f15e9d00b721" providerId="ADAL" clId="{547B9B00-4707-4AC8-9FDE-BA0EA9194C65}" dt="2023-02-02T13:08:50.540" v="19119"/>
        <pc:sldMkLst>
          <pc:docMk/>
          <pc:sldMk cId="2025879738" sldId="315"/>
        </pc:sldMkLst>
        <pc:spChg chg="add mod">
          <ac:chgData name="Pauline Smout" userId="3153cd80-1eee-4546-abae-f15e9d00b721" providerId="ADAL" clId="{547B9B00-4707-4AC8-9FDE-BA0EA9194C65}" dt="2023-01-30T16:38:06.926" v="16030" actId="1076"/>
          <ac:spMkLst>
            <pc:docMk/>
            <pc:sldMk cId="2025879738" sldId="315"/>
            <ac:spMk id="2" creationId="{7A2B8EBA-C793-BFD3-9525-0CA728042074}"/>
          </ac:spMkLst>
        </pc:spChg>
        <pc:spChg chg="add mod">
          <ac:chgData name="Pauline Smout" userId="3153cd80-1eee-4546-abae-f15e9d00b721" providerId="ADAL" clId="{547B9B00-4707-4AC8-9FDE-BA0EA9194C65}" dt="2023-01-30T16:38:06.926" v="16030" actId="1076"/>
          <ac:spMkLst>
            <pc:docMk/>
            <pc:sldMk cId="2025879738" sldId="315"/>
            <ac:spMk id="3" creationId="{932EF89D-1519-BA4A-228D-6A86E4D07203}"/>
          </ac:spMkLst>
        </pc:spChg>
        <pc:spChg chg="add mod">
          <ac:chgData name="Pauline Smout" userId="3153cd80-1eee-4546-abae-f15e9d00b721" providerId="ADAL" clId="{547B9B00-4707-4AC8-9FDE-BA0EA9194C65}" dt="2023-01-30T16:38:06.926" v="16030" actId="1076"/>
          <ac:spMkLst>
            <pc:docMk/>
            <pc:sldMk cId="2025879738" sldId="315"/>
            <ac:spMk id="4" creationId="{AE8FD318-5F7C-43C6-8C19-9563C7F26D27}"/>
          </ac:spMkLst>
        </pc:spChg>
        <pc:spChg chg="add mod">
          <ac:chgData name="Pauline Smout" userId="3153cd80-1eee-4546-abae-f15e9d00b721" providerId="ADAL" clId="{547B9B00-4707-4AC8-9FDE-BA0EA9194C65}" dt="2023-01-30T16:38:06.926" v="16030" actId="1076"/>
          <ac:spMkLst>
            <pc:docMk/>
            <pc:sldMk cId="2025879738" sldId="315"/>
            <ac:spMk id="9" creationId="{36BF1A66-7F1D-A104-4C94-0CBA18602D84}"/>
          </ac:spMkLst>
        </pc:spChg>
        <pc:spChg chg="add mod">
          <ac:chgData name="Pauline Smout" userId="3153cd80-1eee-4546-abae-f15e9d00b721" providerId="ADAL" clId="{547B9B00-4707-4AC8-9FDE-BA0EA9194C65}" dt="2023-01-30T16:38:06.926" v="16030" actId="1076"/>
          <ac:spMkLst>
            <pc:docMk/>
            <pc:sldMk cId="2025879738" sldId="315"/>
            <ac:spMk id="10" creationId="{E797BAF6-92F5-39D5-B86C-A4F0D755A594}"/>
          </ac:spMkLst>
        </pc:spChg>
        <pc:spChg chg="add mod">
          <ac:chgData name="Pauline Smout" userId="3153cd80-1eee-4546-abae-f15e9d00b721" providerId="ADAL" clId="{547B9B00-4707-4AC8-9FDE-BA0EA9194C65}" dt="2023-01-30T16:38:06.926" v="16030" actId="1076"/>
          <ac:spMkLst>
            <pc:docMk/>
            <pc:sldMk cId="2025879738" sldId="315"/>
            <ac:spMk id="12" creationId="{9A11774B-2BD9-FF22-340F-EE1DB586AF01}"/>
          </ac:spMkLst>
        </pc:spChg>
        <pc:spChg chg="add mod">
          <ac:chgData name="Pauline Smout" userId="3153cd80-1eee-4546-abae-f15e9d00b721" providerId="ADAL" clId="{547B9B00-4707-4AC8-9FDE-BA0EA9194C65}" dt="2023-01-30T16:38:06.926" v="16030" actId="1076"/>
          <ac:spMkLst>
            <pc:docMk/>
            <pc:sldMk cId="2025879738" sldId="315"/>
            <ac:spMk id="13" creationId="{B190B1CB-9656-C74E-8941-38581F992E1E}"/>
          </ac:spMkLst>
        </pc:spChg>
        <pc:spChg chg="add mod">
          <ac:chgData name="Pauline Smout" userId="3153cd80-1eee-4546-abae-f15e9d00b721" providerId="ADAL" clId="{547B9B00-4707-4AC8-9FDE-BA0EA9194C65}" dt="2023-01-30T16:38:06.926" v="16030" actId="1076"/>
          <ac:spMkLst>
            <pc:docMk/>
            <pc:sldMk cId="2025879738" sldId="315"/>
            <ac:spMk id="14" creationId="{80BBB3B6-9118-3572-5262-7312683E1697}"/>
          </ac:spMkLst>
        </pc:spChg>
        <pc:spChg chg="del">
          <ac:chgData name="Pauline Smout" userId="3153cd80-1eee-4546-abae-f15e9d00b721" providerId="ADAL" clId="{547B9B00-4707-4AC8-9FDE-BA0EA9194C65}" dt="2023-01-30T16:37:52.224" v="16009" actId="478"/>
          <ac:spMkLst>
            <pc:docMk/>
            <pc:sldMk cId="2025879738" sldId="315"/>
            <ac:spMk id="15" creationId="{54016651-8580-11D9-CA85-E55F221ED463}"/>
          </ac:spMkLst>
        </pc:spChg>
        <pc:spChg chg="del">
          <ac:chgData name="Pauline Smout" userId="3153cd80-1eee-4546-abae-f15e9d00b721" providerId="ADAL" clId="{547B9B00-4707-4AC8-9FDE-BA0EA9194C65}" dt="2023-01-30T16:37:52.224" v="16009" actId="478"/>
          <ac:spMkLst>
            <pc:docMk/>
            <pc:sldMk cId="2025879738" sldId="315"/>
            <ac:spMk id="16" creationId="{12B0C176-19A6-C6F4-4287-B870D12AEE8D}"/>
          </ac:spMkLst>
        </pc:spChg>
        <pc:spChg chg="del">
          <ac:chgData name="Pauline Smout" userId="3153cd80-1eee-4546-abae-f15e9d00b721" providerId="ADAL" clId="{547B9B00-4707-4AC8-9FDE-BA0EA9194C65}" dt="2023-01-30T16:37:52.224" v="16009" actId="478"/>
          <ac:spMkLst>
            <pc:docMk/>
            <pc:sldMk cId="2025879738" sldId="315"/>
            <ac:spMk id="17" creationId="{544D8853-FF51-CBB5-9235-78E4FB8B70B4}"/>
          </ac:spMkLst>
        </pc:spChg>
        <pc:spChg chg="del">
          <ac:chgData name="Pauline Smout" userId="3153cd80-1eee-4546-abae-f15e9d00b721" providerId="ADAL" clId="{547B9B00-4707-4AC8-9FDE-BA0EA9194C65}" dt="2023-01-30T16:37:52.224" v="16009" actId="478"/>
          <ac:spMkLst>
            <pc:docMk/>
            <pc:sldMk cId="2025879738" sldId="315"/>
            <ac:spMk id="18" creationId="{C9A95D62-A253-35A8-77F8-AD3229116635}"/>
          </ac:spMkLst>
        </pc:spChg>
        <pc:spChg chg="add mod">
          <ac:chgData name="Pauline Smout" userId="3153cd80-1eee-4546-abae-f15e9d00b721" providerId="ADAL" clId="{547B9B00-4707-4AC8-9FDE-BA0EA9194C65}" dt="2023-01-30T16:38:06.926" v="16030" actId="1076"/>
          <ac:spMkLst>
            <pc:docMk/>
            <pc:sldMk cId="2025879738" sldId="315"/>
            <ac:spMk id="19" creationId="{55EE2D18-BE0A-F410-3396-9700ADE82A62}"/>
          </ac:spMkLst>
        </pc:spChg>
        <pc:spChg chg="mod">
          <ac:chgData name="Pauline Smout" userId="3153cd80-1eee-4546-abae-f15e9d00b721" providerId="ADAL" clId="{547B9B00-4707-4AC8-9FDE-BA0EA9194C65}" dt="2023-01-30T17:24:57.030" v="17670" actId="113"/>
          <ac:spMkLst>
            <pc:docMk/>
            <pc:sldMk cId="2025879738" sldId="315"/>
            <ac:spMk id="20" creationId="{6A702181-012B-7FF6-8D92-2A277CB55B13}"/>
          </ac:spMkLst>
        </pc:spChg>
        <pc:spChg chg="add del mod">
          <ac:chgData name="Pauline Smout" userId="3153cd80-1eee-4546-abae-f15e9d00b721" providerId="ADAL" clId="{547B9B00-4707-4AC8-9FDE-BA0EA9194C65}" dt="2023-01-30T17:25:43.424" v="17681" actId="478"/>
          <ac:spMkLst>
            <pc:docMk/>
            <pc:sldMk cId="2025879738" sldId="315"/>
            <ac:spMk id="21" creationId="{A1912CC2-F13D-2F66-7B6F-BCDE44988A2B}"/>
          </ac:spMkLst>
        </pc:spChg>
        <pc:spChg chg="add mod">
          <ac:chgData name="Pauline Smout" userId="3153cd80-1eee-4546-abae-f15e9d00b721" providerId="ADAL" clId="{547B9B00-4707-4AC8-9FDE-BA0EA9194C65}" dt="2023-02-02T13:08:50.540" v="19119"/>
          <ac:spMkLst>
            <pc:docMk/>
            <pc:sldMk cId="2025879738" sldId="315"/>
            <ac:spMk id="22" creationId="{54ADE098-3B17-B650-D489-3602C42299A6}"/>
          </ac:spMkLst>
        </pc:spChg>
      </pc:sldChg>
      <pc:sldChg chg="addSp delSp modSp add mod delCm">
        <pc:chgData name="Pauline Smout" userId="3153cd80-1eee-4546-abae-f15e9d00b721" providerId="ADAL" clId="{547B9B00-4707-4AC8-9FDE-BA0EA9194C65}" dt="2023-02-02T17:24:46.904" v="23748" actId="1076"/>
        <pc:sldMkLst>
          <pc:docMk/>
          <pc:sldMk cId="1615023507" sldId="316"/>
        </pc:sldMkLst>
        <pc:spChg chg="del">
          <ac:chgData name="Pauline Smout" userId="3153cd80-1eee-4546-abae-f15e9d00b721" providerId="ADAL" clId="{547B9B00-4707-4AC8-9FDE-BA0EA9194C65}" dt="2023-02-02T12:39:10.290" v="19103" actId="478"/>
          <ac:spMkLst>
            <pc:docMk/>
            <pc:sldMk cId="1615023507" sldId="316"/>
            <ac:spMk id="3" creationId="{095B6F35-C464-CB1A-98D8-84BA1D1241EB}"/>
          </ac:spMkLst>
        </pc:spChg>
        <pc:spChg chg="add del mod">
          <ac:chgData name="Pauline Smout" userId="3153cd80-1eee-4546-abae-f15e9d00b721" providerId="ADAL" clId="{547B9B00-4707-4AC8-9FDE-BA0EA9194C65}" dt="2023-02-02T12:39:11.940" v="19104" actId="478"/>
          <ac:spMkLst>
            <pc:docMk/>
            <pc:sldMk cId="1615023507" sldId="316"/>
            <ac:spMk id="4" creationId="{F5FD31F7-B7BF-5393-3E79-96143ADA9B9E}"/>
          </ac:spMkLst>
        </pc:spChg>
        <pc:spChg chg="add mod">
          <ac:chgData name="Pauline Smout" userId="3153cd80-1eee-4546-abae-f15e9d00b721" providerId="ADAL" clId="{547B9B00-4707-4AC8-9FDE-BA0EA9194C65}" dt="2023-02-02T13:09:10.744" v="19125" actId="20577"/>
          <ac:spMkLst>
            <pc:docMk/>
            <pc:sldMk cId="1615023507" sldId="316"/>
            <ac:spMk id="9" creationId="{132577B1-1237-7009-80EE-4036C2AC473D}"/>
          </ac:spMkLst>
        </pc:spChg>
        <pc:spChg chg="add del mod">
          <ac:chgData name="Pauline Smout" userId="3153cd80-1eee-4546-abae-f15e9d00b721" providerId="ADAL" clId="{547B9B00-4707-4AC8-9FDE-BA0EA9194C65}" dt="2023-02-02T16:57:57.528" v="21296" actId="21"/>
          <ac:spMkLst>
            <pc:docMk/>
            <pc:sldMk cId="1615023507" sldId="316"/>
            <ac:spMk id="10" creationId="{FF5793A3-ABC9-06B9-8527-EC3E02FC3DBF}"/>
          </ac:spMkLst>
        </pc:spChg>
        <pc:spChg chg="add mod">
          <ac:chgData name="Pauline Smout" userId="3153cd80-1eee-4546-abae-f15e9d00b721" providerId="ADAL" clId="{547B9B00-4707-4AC8-9FDE-BA0EA9194C65}" dt="2023-02-02T17:24:46.904" v="23748" actId="1076"/>
          <ac:spMkLst>
            <pc:docMk/>
            <pc:sldMk cId="1615023507" sldId="316"/>
            <ac:spMk id="12" creationId="{0FED57CE-15A9-6FBD-B9CE-99B2FFD4C0CA}"/>
          </ac:spMkLst>
        </pc:spChg>
        <pc:spChg chg="add del mod">
          <ac:chgData name="Pauline Smout" userId="3153cd80-1eee-4546-abae-f15e9d00b721" providerId="ADAL" clId="{547B9B00-4707-4AC8-9FDE-BA0EA9194C65}" dt="2023-02-02T16:03:37.201" v="19227" actId="478"/>
          <ac:spMkLst>
            <pc:docMk/>
            <pc:sldMk cId="1615023507" sldId="316"/>
            <ac:spMk id="13" creationId="{2CE30059-A484-A811-DAF3-A876A559867D}"/>
          </ac:spMkLst>
        </pc:spChg>
        <pc:spChg chg="add del mod">
          <ac:chgData name="Pauline Smout" userId="3153cd80-1eee-4546-abae-f15e9d00b721" providerId="ADAL" clId="{547B9B00-4707-4AC8-9FDE-BA0EA9194C65}" dt="2023-02-02T16:03:37.201" v="19227" actId="478"/>
          <ac:spMkLst>
            <pc:docMk/>
            <pc:sldMk cId="1615023507" sldId="316"/>
            <ac:spMk id="14" creationId="{1ADFC8CD-4A02-CAAF-6E4A-459FB8C0992C}"/>
          </ac:spMkLst>
        </pc:spChg>
        <pc:spChg chg="add del mod">
          <ac:chgData name="Pauline Smout" userId="3153cd80-1eee-4546-abae-f15e9d00b721" providerId="ADAL" clId="{547B9B00-4707-4AC8-9FDE-BA0EA9194C65}" dt="2023-02-02T16:03:32.588" v="19226" actId="478"/>
          <ac:spMkLst>
            <pc:docMk/>
            <pc:sldMk cId="1615023507" sldId="316"/>
            <ac:spMk id="15" creationId="{30779461-BA7A-35B0-FB8B-1BF4775A50B8}"/>
          </ac:spMkLst>
        </pc:spChg>
        <pc:spChg chg="add mod">
          <ac:chgData name="Pauline Smout" userId="3153cd80-1eee-4546-abae-f15e9d00b721" providerId="ADAL" clId="{547B9B00-4707-4AC8-9FDE-BA0EA9194C65}" dt="2023-02-02T17:24:46.904" v="23748" actId="1076"/>
          <ac:spMkLst>
            <pc:docMk/>
            <pc:sldMk cId="1615023507" sldId="316"/>
            <ac:spMk id="16" creationId="{1163A501-30EB-3C55-3B6C-9D152CCBC922}"/>
          </ac:spMkLst>
        </pc:spChg>
        <pc:spChg chg="add del mod">
          <ac:chgData name="Pauline Smout" userId="3153cd80-1eee-4546-abae-f15e9d00b721" providerId="ADAL" clId="{547B9B00-4707-4AC8-9FDE-BA0EA9194C65}" dt="2023-02-02T16:03:37.201" v="19227" actId="478"/>
          <ac:spMkLst>
            <pc:docMk/>
            <pc:sldMk cId="1615023507" sldId="316"/>
            <ac:spMk id="17" creationId="{2681DBA3-0BD6-B655-2B41-8A85839C8D05}"/>
          </ac:spMkLst>
        </pc:spChg>
        <pc:spChg chg="add del mod">
          <ac:chgData name="Pauline Smout" userId="3153cd80-1eee-4546-abae-f15e9d00b721" providerId="ADAL" clId="{547B9B00-4707-4AC8-9FDE-BA0EA9194C65}" dt="2023-02-02T16:03:37.201" v="19227" actId="478"/>
          <ac:spMkLst>
            <pc:docMk/>
            <pc:sldMk cId="1615023507" sldId="316"/>
            <ac:spMk id="18" creationId="{466F9764-78F4-AEBA-D3AF-88DE49253584}"/>
          </ac:spMkLst>
        </pc:spChg>
        <pc:spChg chg="add mod">
          <ac:chgData name="Pauline Smout" userId="3153cd80-1eee-4546-abae-f15e9d00b721" providerId="ADAL" clId="{547B9B00-4707-4AC8-9FDE-BA0EA9194C65}" dt="2023-02-02T17:24:46.904" v="23748" actId="1076"/>
          <ac:spMkLst>
            <pc:docMk/>
            <pc:sldMk cId="1615023507" sldId="316"/>
            <ac:spMk id="19" creationId="{8FC4B1EF-8475-433C-DEE6-AFCC9FF5D4C1}"/>
          </ac:spMkLst>
        </pc:spChg>
        <pc:spChg chg="add mod">
          <ac:chgData name="Pauline Smout" userId="3153cd80-1eee-4546-abae-f15e9d00b721" providerId="ADAL" clId="{547B9B00-4707-4AC8-9FDE-BA0EA9194C65}" dt="2023-02-02T17:24:46.904" v="23748" actId="1076"/>
          <ac:spMkLst>
            <pc:docMk/>
            <pc:sldMk cId="1615023507" sldId="316"/>
            <ac:spMk id="20" creationId="{06317882-CF17-6AF0-31BB-9BE4B258A572}"/>
          </ac:spMkLst>
        </pc:spChg>
        <pc:spChg chg="add mod">
          <ac:chgData name="Pauline Smout" userId="3153cd80-1eee-4546-abae-f15e9d00b721" providerId="ADAL" clId="{547B9B00-4707-4AC8-9FDE-BA0EA9194C65}" dt="2023-02-02T17:24:46.904" v="23748" actId="1076"/>
          <ac:spMkLst>
            <pc:docMk/>
            <pc:sldMk cId="1615023507" sldId="316"/>
            <ac:spMk id="21" creationId="{9BD62607-1D81-B73C-4214-DDAF90D6CA4D}"/>
          </ac:spMkLst>
        </pc:spChg>
        <pc:spChg chg="add del mod">
          <ac:chgData name="Pauline Smout" userId="3153cd80-1eee-4546-abae-f15e9d00b721" providerId="ADAL" clId="{547B9B00-4707-4AC8-9FDE-BA0EA9194C65}" dt="2023-02-02T16:03:37.201" v="19227" actId="478"/>
          <ac:spMkLst>
            <pc:docMk/>
            <pc:sldMk cId="1615023507" sldId="316"/>
            <ac:spMk id="22" creationId="{CBF3B9E7-668B-28CB-1CFC-3140477861BE}"/>
          </ac:spMkLst>
        </pc:spChg>
        <pc:spChg chg="add del mod">
          <ac:chgData name="Pauline Smout" userId="3153cd80-1eee-4546-abae-f15e9d00b721" providerId="ADAL" clId="{547B9B00-4707-4AC8-9FDE-BA0EA9194C65}" dt="2023-02-02T16:03:37.201" v="19227" actId="478"/>
          <ac:spMkLst>
            <pc:docMk/>
            <pc:sldMk cId="1615023507" sldId="316"/>
            <ac:spMk id="23" creationId="{903CCBD3-74D9-96DD-7E49-E9658C160BF1}"/>
          </ac:spMkLst>
        </pc:spChg>
        <pc:spChg chg="add mod">
          <ac:chgData name="Pauline Smout" userId="3153cd80-1eee-4546-abae-f15e9d00b721" providerId="ADAL" clId="{547B9B00-4707-4AC8-9FDE-BA0EA9194C65}" dt="2023-02-02T17:24:46.904" v="23748" actId="1076"/>
          <ac:spMkLst>
            <pc:docMk/>
            <pc:sldMk cId="1615023507" sldId="316"/>
            <ac:spMk id="24" creationId="{D6F27C6C-176A-DF92-69C8-7EA6776E3ECB}"/>
          </ac:spMkLst>
        </pc:spChg>
        <pc:spChg chg="add mod">
          <ac:chgData name="Pauline Smout" userId="3153cd80-1eee-4546-abae-f15e9d00b721" providerId="ADAL" clId="{547B9B00-4707-4AC8-9FDE-BA0EA9194C65}" dt="2023-02-02T17:24:40.120" v="23747" actId="20577"/>
          <ac:spMkLst>
            <pc:docMk/>
            <pc:sldMk cId="1615023507" sldId="316"/>
            <ac:spMk id="25" creationId="{7061EBC3-35BC-22F0-E740-DE2404E8C721}"/>
          </ac:spMkLst>
        </pc:spChg>
        <pc:spChg chg="add del mod">
          <ac:chgData name="Pauline Smout" userId="3153cd80-1eee-4546-abae-f15e9d00b721" providerId="ADAL" clId="{547B9B00-4707-4AC8-9FDE-BA0EA9194C65}" dt="2023-02-02T16:57:59.756" v="21297" actId="478"/>
          <ac:spMkLst>
            <pc:docMk/>
            <pc:sldMk cId="1615023507" sldId="316"/>
            <ac:spMk id="27" creationId="{1ADE4BE7-B549-FB59-98B6-D61D9EDF6050}"/>
          </ac:spMkLst>
        </pc:spChg>
        <pc:extLst>
          <p:ext xmlns:p="http://schemas.openxmlformats.org/presentationml/2006/main" uri="{D6D511B9-2390-475A-947B-AFAB55BFBCF1}">
            <pc226:cmChg xmlns:pc226="http://schemas.microsoft.com/office/powerpoint/2022/06/main/command" chg="del">
              <pc226:chgData name="Pauline Smout" userId="3153cd80-1eee-4546-abae-f15e9d00b721" providerId="ADAL" clId="{547B9B00-4707-4AC8-9FDE-BA0EA9194C65}" dt="2023-02-02T12:39:05.578" v="19102"/>
              <pc2:cmMkLst xmlns:pc2="http://schemas.microsoft.com/office/powerpoint/2019/9/main/command">
                <pc:docMk/>
                <pc:sldMk cId="1615023507" sldId="316"/>
                <pc2:cmMk id="{70958C51-CCAC-4D2C-8552-E0E6881B89E0}"/>
              </pc2:cmMkLst>
            </pc226:cmChg>
          </p:ext>
        </pc:extLst>
      </pc:sldChg>
      <pc:sldChg chg="addSp delSp modSp add mod ord">
        <pc:chgData name="Pauline Smout" userId="3153cd80-1eee-4546-abae-f15e9d00b721" providerId="ADAL" clId="{547B9B00-4707-4AC8-9FDE-BA0EA9194C65}" dt="2023-03-03T16:27:06.168" v="26894" actId="20577"/>
        <pc:sldMkLst>
          <pc:docMk/>
          <pc:sldMk cId="4159537549" sldId="317"/>
        </pc:sldMkLst>
        <pc:spChg chg="add mod">
          <ac:chgData name="Pauline Smout" userId="3153cd80-1eee-4546-abae-f15e9d00b721" providerId="ADAL" clId="{547B9B00-4707-4AC8-9FDE-BA0EA9194C65}" dt="2023-02-02T17:21:55.243" v="23662" actId="14100"/>
          <ac:spMkLst>
            <pc:docMk/>
            <pc:sldMk cId="4159537549" sldId="317"/>
            <ac:spMk id="2" creationId="{2BC8D503-AF39-13A9-9863-ED120E59C3D3}"/>
          </ac:spMkLst>
        </pc:spChg>
        <pc:spChg chg="mod">
          <ac:chgData name="Pauline Smout" userId="3153cd80-1eee-4546-abae-f15e9d00b721" providerId="ADAL" clId="{547B9B00-4707-4AC8-9FDE-BA0EA9194C65}" dt="2023-02-02T17:23:31.938" v="23728" actId="123"/>
          <ac:spMkLst>
            <pc:docMk/>
            <pc:sldMk cId="4159537549" sldId="317"/>
            <ac:spMk id="3" creationId="{095B6F35-C464-CB1A-98D8-84BA1D1241EB}"/>
          </ac:spMkLst>
        </pc:spChg>
        <pc:spChg chg="add mod">
          <ac:chgData name="Pauline Smout" userId="3153cd80-1eee-4546-abae-f15e9d00b721" providerId="ADAL" clId="{547B9B00-4707-4AC8-9FDE-BA0EA9194C65}" dt="2023-02-02T17:21:49.701" v="23661" actId="14100"/>
          <ac:spMkLst>
            <pc:docMk/>
            <pc:sldMk cId="4159537549" sldId="317"/>
            <ac:spMk id="4" creationId="{13600E78-4485-A93A-580C-10C7C139A80F}"/>
          </ac:spMkLst>
        </pc:spChg>
        <pc:spChg chg="add del mod">
          <ac:chgData name="Pauline Smout" userId="3153cd80-1eee-4546-abae-f15e9d00b721" providerId="ADAL" clId="{547B9B00-4707-4AC8-9FDE-BA0EA9194C65}" dt="2023-02-02T17:21:39.855" v="23660" actId="478"/>
          <ac:spMkLst>
            <pc:docMk/>
            <pc:sldMk cId="4159537549" sldId="317"/>
            <ac:spMk id="9" creationId="{B93B926D-2B95-A6E3-DC17-2F3D6656472B}"/>
          </ac:spMkLst>
        </pc:spChg>
        <pc:spChg chg="add mod">
          <ac:chgData name="Pauline Smout" userId="3153cd80-1eee-4546-abae-f15e9d00b721" providerId="ADAL" clId="{547B9B00-4707-4AC8-9FDE-BA0EA9194C65}" dt="2023-03-03T16:27:06.168" v="26894" actId="20577"/>
          <ac:spMkLst>
            <pc:docMk/>
            <pc:sldMk cId="4159537549" sldId="317"/>
            <ac:spMk id="10" creationId="{EF52C5B7-32A8-9F78-4BB1-6F89E0E6B0A7}"/>
          </ac:spMkLst>
        </pc:spChg>
        <pc:spChg chg="add mod">
          <ac:chgData name="Pauline Smout" userId="3153cd80-1eee-4546-abae-f15e9d00b721" providerId="ADAL" clId="{547B9B00-4707-4AC8-9FDE-BA0EA9194C65}" dt="2023-02-02T17:16:00.815" v="23111" actId="1076"/>
          <ac:spMkLst>
            <pc:docMk/>
            <pc:sldMk cId="4159537549" sldId="317"/>
            <ac:spMk id="12" creationId="{8DEFFAA7-E327-2899-EC05-BE564AC5EB5B}"/>
          </ac:spMkLst>
        </pc:spChg>
        <pc:spChg chg="add del mod">
          <ac:chgData name="Pauline Smout" userId="3153cd80-1eee-4546-abae-f15e9d00b721" providerId="ADAL" clId="{547B9B00-4707-4AC8-9FDE-BA0EA9194C65}" dt="2023-03-03T16:26:51.754" v="26871" actId="478"/>
          <ac:spMkLst>
            <pc:docMk/>
            <pc:sldMk cId="4159537549" sldId="317"/>
            <ac:spMk id="13" creationId="{34CCEEC5-21E0-9A40-2D56-00A94796FA71}"/>
          </ac:spMkLst>
        </pc:spChg>
        <pc:spChg chg="add del mod">
          <ac:chgData name="Pauline Smout" userId="3153cd80-1eee-4546-abae-f15e9d00b721" providerId="ADAL" clId="{547B9B00-4707-4AC8-9FDE-BA0EA9194C65}" dt="2023-02-02T17:09:07.215" v="22182" actId="478"/>
          <ac:spMkLst>
            <pc:docMk/>
            <pc:sldMk cId="4159537549" sldId="317"/>
            <ac:spMk id="14" creationId="{970BE716-A480-26ED-6F68-24C8C7E0B20A}"/>
          </ac:spMkLst>
        </pc:spChg>
        <pc:spChg chg="add del mod">
          <ac:chgData name="Pauline Smout" userId="3153cd80-1eee-4546-abae-f15e9d00b721" providerId="ADAL" clId="{547B9B00-4707-4AC8-9FDE-BA0EA9194C65}" dt="2023-02-02T17:09:07.215" v="22182" actId="478"/>
          <ac:spMkLst>
            <pc:docMk/>
            <pc:sldMk cId="4159537549" sldId="317"/>
            <ac:spMk id="15" creationId="{5DC38350-13DA-F08A-BCF7-D61BF31996B4}"/>
          </ac:spMkLst>
        </pc:spChg>
      </pc:sldChg>
    </pc:docChg>
  </pc:docChgLst>
</pc:chgInfo>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F3FBB47B-80FB-F945-813B-20B3B4F07A88}"/>
              </a:ext>
            </a:extLst>
          </p:cNvPr>
          <p:cNvPicPr>
            <a:picLocks noChangeAspect="1"/>
          </p:cNvPicPr>
          <p:nvPr userDrawn="1"/>
        </p:nvPicPr>
        <p:blipFill rotWithShape="1">
          <a:blip r:embed="rId2"/>
          <a:srcRect r="42473"/>
          <a:stretch/>
        </p:blipFill>
        <p:spPr>
          <a:xfrm>
            <a:off x="4649092" y="5432730"/>
            <a:ext cx="1498455" cy="1248654"/>
          </a:xfrm>
          <a:prstGeom prst="rect">
            <a:avLst/>
          </a:prstGeom>
        </p:spPr>
      </p:pic>
      <p:sp>
        <p:nvSpPr>
          <p:cNvPr id="8" name="Rectangle 7">
            <a:extLst>
              <a:ext uri="{FF2B5EF4-FFF2-40B4-BE49-F238E27FC236}">
                <a16:creationId xmlns:a16="http://schemas.microsoft.com/office/drawing/2014/main" id="{0B78F171-CB3B-754B-901C-A817C6F62DFC}"/>
              </a:ext>
            </a:extLst>
          </p:cNvPr>
          <p:cNvSpPr/>
          <p:nvPr userDrawn="1"/>
        </p:nvSpPr>
        <p:spPr>
          <a:xfrm>
            <a:off x="0" y="1159565"/>
            <a:ext cx="12192000" cy="418566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 descr="Joint letter to the Dutch government ahead of the EU Dutch ...">
            <a:extLst>
              <a:ext uri="{FF2B5EF4-FFF2-40B4-BE49-F238E27FC236}">
                <a16:creationId xmlns:a16="http://schemas.microsoft.com/office/drawing/2014/main" id="{D5E477C2-BD66-4349-9F38-A002F06FE67C}"/>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b="17387"/>
          <a:stretch/>
        </p:blipFill>
        <p:spPr bwMode="auto">
          <a:xfrm>
            <a:off x="5651259" y="-10274"/>
            <a:ext cx="2822400" cy="11075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Icon&#10;&#10;Description automatically generated">
            <a:extLst>
              <a:ext uri="{FF2B5EF4-FFF2-40B4-BE49-F238E27FC236}">
                <a16:creationId xmlns:a16="http://schemas.microsoft.com/office/drawing/2014/main" id="{4BBC263E-8B5D-BE49-BB4D-585484F49103}"/>
              </a:ext>
            </a:extLst>
          </p:cNvPr>
          <p:cNvPicPr>
            <a:picLocks noChangeAspect="1"/>
          </p:cNvPicPr>
          <p:nvPr userDrawn="1"/>
        </p:nvPicPr>
        <p:blipFill>
          <a:blip r:embed="rId4"/>
          <a:stretch>
            <a:fillRect/>
          </a:stretch>
        </p:blipFill>
        <p:spPr>
          <a:xfrm>
            <a:off x="7965440" y="1190706"/>
            <a:ext cx="4065588" cy="4185669"/>
          </a:xfrm>
          <a:prstGeom prst="rect">
            <a:avLst/>
          </a:prstGeom>
        </p:spPr>
      </p:pic>
      <p:pic>
        <p:nvPicPr>
          <p:cNvPr id="12" name="Picture 11" descr="Icon&#10;&#10;Description automatically generated">
            <a:extLst>
              <a:ext uri="{FF2B5EF4-FFF2-40B4-BE49-F238E27FC236}">
                <a16:creationId xmlns:a16="http://schemas.microsoft.com/office/drawing/2014/main" id="{CA4C1BE4-EEC9-6048-9E14-9AB3C2EC7B6B}"/>
              </a:ext>
            </a:extLst>
          </p:cNvPr>
          <p:cNvPicPr>
            <a:picLocks noChangeAspect="1"/>
          </p:cNvPicPr>
          <p:nvPr userDrawn="1"/>
        </p:nvPicPr>
        <p:blipFill>
          <a:blip r:embed="rId5"/>
          <a:stretch>
            <a:fillRect/>
          </a:stretch>
        </p:blipFill>
        <p:spPr>
          <a:xfrm>
            <a:off x="6064538" y="5432727"/>
            <a:ext cx="1212832" cy="1248655"/>
          </a:xfrm>
          <a:prstGeom prst="rect">
            <a:avLst/>
          </a:prstGeom>
        </p:spPr>
      </p:pic>
      <p:sp>
        <p:nvSpPr>
          <p:cNvPr id="3" name="Text Placeholder 2">
            <a:extLst>
              <a:ext uri="{FF2B5EF4-FFF2-40B4-BE49-F238E27FC236}">
                <a16:creationId xmlns:a16="http://schemas.microsoft.com/office/drawing/2014/main" id="{EA82AB26-ACC8-1644-8EA1-54E152B519B9}"/>
              </a:ext>
            </a:extLst>
          </p:cNvPr>
          <p:cNvSpPr>
            <a:spLocks noGrp="1"/>
          </p:cNvSpPr>
          <p:nvPr>
            <p:ph type="body" sz="quarter" idx="10"/>
          </p:nvPr>
        </p:nvSpPr>
        <p:spPr>
          <a:xfrm>
            <a:off x="515936" y="1902529"/>
            <a:ext cx="7449503" cy="1425575"/>
          </a:xfrm>
          <a:prstGeom prst="rect">
            <a:avLst/>
          </a:prstGeom>
        </p:spPr>
        <p:txBody>
          <a:bodyPr>
            <a:noAutofit/>
          </a:bodyPr>
          <a:lstStyle>
            <a:lvl1pPr marL="0" indent="0">
              <a:buNone/>
              <a:defRPr sz="6000">
                <a:solidFill>
                  <a:schemeClr val="bg1"/>
                </a:solidFill>
                <a:latin typeface="+mj-lt"/>
              </a:defRPr>
            </a:lvl1pPr>
            <a:lvl2pPr marL="457200" indent="0">
              <a:buNone/>
              <a:defRPr sz="6000">
                <a:solidFill>
                  <a:schemeClr val="bg1"/>
                </a:solidFill>
                <a:latin typeface="+mj-lt"/>
              </a:defRPr>
            </a:lvl2pPr>
            <a:lvl3pPr marL="914400" indent="0">
              <a:buNone/>
              <a:defRPr sz="6000">
                <a:solidFill>
                  <a:schemeClr val="bg1"/>
                </a:solidFill>
                <a:latin typeface="+mj-lt"/>
              </a:defRPr>
            </a:lvl3pPr>
            <a:lvl4pPr marL="1371600" indent="0">
              <a:buNone/>
              <a:defRPr sz="6000">
                <a:solidFill>
                  <a:schemeClr val="bg1"/>
                </a:solidFill>
                <a:latin typeface="+mj-lt"/>
              </a:defRPr>
            </a:lvl4pPr>
            <a:lvl5pPr marL="1828800" indent="0">
              <a:buNone/>
              <a:defRPr sz="6000">
                <a:solidFill>
                  <a:schemeClr val="bg1"/>
                </a:solidFill>
                <a:latin typeface="+mj-lt"/>
              </a:defRPr>
            </a:lvl5pPr>
          </a:lstStyle>
          <a:p>
            <a:pPr lvl="0"/>
            <a:r>
              <a:rPr lang="en-GB"/>
              <a:t>Click to edit Master text styles</a:t>
            </a:r>
            <a:endParaRPr lang="en-US"/>
          </a:p>
        </p:txBody>
      </p:sp>
      <p:sp>
        <p:nvSpPr>
          <p:cNvPr id="5" name="Text Placeholder 4">
            <a:extLst>
              <a:ext uri="{FF2B5EF4-FFF2-40B4-BE49-F238E27FC236}">
                <a16:creationId xmlns:a16="http://schemas.microsoft.com/office/drawing/2014/main" id="{B819C615-8CE1-D04D-88CD-C92BEA589E76}"/>
              </a:ext>
            </a:extLst>
          </p:cNvPr>
          <p:cNvSpPr>
            <a:spLocks noGrp="1"/>
          </p:cNvSpPr>
          <p:nvPr>
            <p:ph type="body" sz="quarter" idx="11"/>
          </p:nvPr>
        </p:nvSpPr>
        <p:spPr>
          <a:xfrm>
            <a:off x="514350" y="4308301"/>
            <a:ext cx="5285201" cy="614363"/>
          </a:xfrm>
          <a:prstGeom prst="rect">
            <a:avLst/>
          </a:prstGeom>
        </p:spPr>
        <p:txBody>
          <a:bodyPr>
            <a:noAutofit/>
          </a:bodyPr>
          <a:lstStyle>
            <a:lvl1pPr marL="0" indent="0">
              <a:buNone/>
              <a:defRPr sz="2800">
                <a:solidFill>
                  <a:schemeClr val="bg1"/>
                </a:solidFill>
              </a:defRPr>
            </a:lvl1pPr>
            <a:lvl2pPr marL="457200" indent="0">
              <a:buNone/>
              <a:defRPr sz="2800">
                <a:solidFill>
                  <a:schemeClr val="bg1"/>
                </a:solidFill>
              </a:defRPr>
            </a:lvl2pPr>
            <a:lvl3pPr marL="914400" indent="0">
              <a:buNone/>
              <a:defRPr sz="2800">
                <a:solidFill>
                  <a:schemeClr val="bg1"/>
                </a:solidFill>
              </a:defRPr>
            </a:lvl3pPr>
            <a:lvl4pPr marL="1371600" indent="0">
              <a:buNone/>
              <a:defRPr sz="2800">
                <a:solidFill>
                  <a:schemeClr val="bg1"/>
                </a:solidFill>
              </a:defRPr>
            </a:lvl4pPr>
            <a:lvl5pPr marL="1828800" indent="0">
              <a:buNone/>
              <a:defRPr sz="2800">
                <a:solidFill>
                  <a:schemeClr val="bg1"/>
                </a:solidFill>
              </a:defRPr>
            </a:lvl5pPr>
          </a:lstStyle>
          <a:p>
            <a:pPr lvl="0"/>
            <a:r>
              <a:rPr lang="en-GB"/>
              <a:t>Click to edit Master</a:t>
            </a:r>
            <a:endParaRPr lang="en-US"/>
          </a:p>
        </p:txBody>
      </p:sp>
    </p:spTree>
    <p:extLst>
      <p:ext uri="{BB962C8B-B14F-4D97-AF65-F5344CB8AC3E}">
        <p14:creationId xmlns:p14="http://schemas.microsoft.com/office/powerpoint/2010/main" val="29596521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47B0464-C501-3D4A-8919-728F41D8EB89}"/>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914B947-FB97-C949-9489-B435627D0A4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Title 1">
            <a:extLst>
              <a:ext uri="{FF2B5EF4-FFF2-40B4-BE49-F238E27FC236}">
                <a16:creationId xmlns:a16="http://schemas.microsoft.com/office/drawing/2014/main" id="{A059F074-5CCA-0C41-8B94-40DF66AE3F5D}"/>
              </a:ext>
            </a:extLst>
          </p:cNvPr>
          <p:cNvSpPr>
            <a:spLocks noGrp="1"/>
          </p:cNvSpPr>
          <p:nvPr>
            <p:ph type="title" hasCustomPrompt="1"/>
          </p:nvPr>
        </p:nvSpPr>
        <p:spPr>
          <a:xfrm>
            <a:off x="839788" y="457200"/>
            <a:ext cx="3932237" cy="1600200"/>
          </a:xfrm>
          <a:prstGeom prst="rect">
            <a:avLst/>
          </a:prstGeom>
        </p:spPr>
        <p:txBody>
          <a:bodyPr anchor="b">
            <a:normAutofit/>
          </a:bodyPr>
          <a:lstStyle>
            <a:lvl1pPr>
              <a:defRPr sz="3600">
                <a:solidFill>
                  <a:schemeClr val="accent1"/>
                </a:solidFill>
              </a:defRPr>
            </a:lvl1pPr>
          </a:lstStyle>
          <a:p>
            <a:r>
              <a:rPr lang="en-GB"/>
              <a:t>CLICK TO EDIT MASTER TITLE STYLE</a:t>
            </a:r>
            <a:endParaRPr lang="en-US"/>
          </a:p>
        </p:txBody>
      </p:sp>
      <p:sp>
        <p:nvSpPr>
          <p:cNvPr id="9" name="Rectangle 8">
            <a:extLst>
              <a:ext uri="{FF2B5EF4-FFF2-40B4-BE49-F238E27FC236}">
                <a16:creationId xmlns:a16="http://schemas.microsoft.com/office/drawing/2014/main" id="{32DC137D-82C3-5343-A1A2-0FA5C088E3E1}"/>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34402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48621F-FD2A-9F44-94B1-E6AD741BD364}"/>
              </a:ext>
            </a:extLst>
          </p:cNvPr>
          <p:cNvPicPr>
            <a:picLocks noChangeAspect="1"/>
          </p:cNvPicPr>
          <p:nvPr userDrawn="1"/>
        </p:nvPicPr>
        <p:blipFill>
          <a:blip r:embed="rId2"/>
          <a:srcRect t="32939" b="32939"/>
          <a:stretch/>
        </p:blipFill>
        <p:spPr>
          <a:xfrm>
            <a:off x="0" y="1159563"/>
            <a:ext cx="12192000" cy="4185670"/>
          </a:xfrm>
          <a:prstGeom prst="rect">
            <a:avLst/>
          </a:prstGeom>
        </p:spPr>
      </p:pic>
      <p:pic>
        <p:nvPicPr>
          <p:cNvPr id="9" name="Picture 2" descr="Joint letter to the Dutch government ahead of the EU Dutch ...">
            <a:extLst>
              <a:ext uri="{FF2B5EF4-FFF2-40B4-BE49-F238E27FC236}">
                <a16:creationId xmlns:a16="http://schemas.microsoft.com/office/drawing/2014/main" id="{6D5A91FE-CA2C-3C44-A452-0798C2E3980D}"/>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b="17387"/>
          <a:stretch/>
        </p:blipFill>
        <p:spPr bwMode="auto">
          <a:xfrm>
            <a:off x="5651259" y="-10274"/>
            <a:ext cx="2822400" cy="1107554"/>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
            <a:extLst>
              <a:ext uri="{FF2B5EF4-FFF2-40B4-BE49-F238E27FC236}">
                <a16:creationId xmlns:a16="http://schemas.microsoft.com/office/drawing/2014/main" id="{DE6EF542-6A6B-C944-BD24-0DA3B018A6BE}"/>
              </a:ext>
            </a:extLst>
          </p:cNvPr>
          <p:cNvSpPr>
            <a:spLocks noGrp="1"/>
          </p:cNvSpPr>
          <p:nvPr>
            <p:ph type="body" sz="quarter" idx="10"/>
          </p:nvPr>
        </p:nvSpPr>
        <p:spPr>
          <a:xfrm>
            <a:off x="515936" y="2539610"/>
            <a:ext cx="8540382" cy="1425575"/>
          </a:xfrm>
          <a:prstGeom prst="rect">
            <a:avLst/>
          </a:prstGeom>
        </p:spPr>
        <p:txBody>
          <a:bodyPr>
            <a:noAutofit/>
          </a:bodyPr>
          <a:lstStyle>
            <a:lvl1pPr marL="0" indent="0">
              <a:buNone/>
              <a:defRPr sz="7200">
                <a:solidFill>
                  <a:schemeClr val="bg1"/>
                </a:solidFill>
                <a:latin typeface="+mj-lt"/>
              </a:defRPr>
            </a:lvl1pPr>
            <a:lvl2pPr marL="457200" indent="0">
              <a:buNone/>
              <a:defRPr sz="6000">
                <a:solidFill>
                  <a:schemeClr val="bg1"/>
                </a:solidFill>
                <a:latin typeface="+mj-lt"/>
              </a:defRPr>
            </a:lvl2pPr>
            <a:lvl3pPr marL="914400" indent="0">
              <a:buNone/>
              <a:defRPr sz="6000">
                <a:solidFill>
                  <a:schemeClr val="bg1"/>
                </a:solidFill>
                <a:latin typeface="+mj-lt"/>
              </a:defRPr>
            </a:lvl3pPr>
            <a:lvl4pPr marL="1371600" indent="0">
              <a:buNone/>
              <a:defRPr sz="6000">
                <a:solidFill>
                  <a:schemeClr val="bg1"/>
                </a:solidFill>
                <a:latin typeface="+mj-lt"/>
              </a:defRPr>
            </a:lvl4pPr>
            <a:lvl5pPr marL="1828800" indent="0">
              <a:buNone/>
              <a:defRPr sz="6000">
                <a:solidFill>
                  <a:schemeClr val="bg1"/>
                </a:solidFill>
                <a:latin typeface="+mj-lt"/>
              </a:defRPr>
            </a:lvl5pPr>
          </a:lstStyle>
          <a:p>
            <a:pPr lvl="0"/>
            <a:r>
              <a:rPr lang="en-GB"/>
              <a:t>Click to edit Master text styles</a:t>
            </a:r>
            <a:endParaRPr lang="en-US"/>
          </a:p>
        </p:txBody>
      </p:sp>
      <p:pic>
        <p:nvPicPr>
          <p:cNvPr id="5" name="Picture 4" descr="Logo&#10;&#10;Description automatically generated">
            <a:extLst>
              <a:ext uri="{FF2B5EF4-FFF2-40B4-BE49-F238E27FC236}">
                <a16:creationId xmlns:a16="http://schemas.microsoft.com/office/drawing/2014/main" id="{117B31ED-FA24-1F7D-138A-8C6A463B329E}"/>
              </a:ext>
            </a:extLst>
          </p:cNvPr>
          <p:cNvPicPr>
            <a:picLocks noChangeAspect="1"/>
          </p:cNvPicPr>
          <p:nvPr userDrawn="1"/>
        </p:nvPicPr>
        <p:blipFill rotWithShape="1">
          <a:blip r:embed="rId4"/>
          <a:srcRect r="42473"/>
          <a:stretch/>
        </p:blipFill>
        <p:spPr>
          <a:xfrm>
            <a:off x="4649092" y="5432730"/>
            <a:ext cx="1498455" cy="1248654"/>
          </a:xfrm>
          <a:prstGeom prst="rect">
            <a:avLst/>
          </a:prstGeom>
        </p:spPr>
      </p:pic>
      <p:pic>
        <p:nvPicPr>
          <p:cNvPr id="6" name="Picture 5" descr="Icon&#10;&#10;Description automatically generated">
            <a:extLst>
              <a:ext uri="{FF2B5EF4-FFF2-40B4-BE49-F238E27FC236}">
                <a16:creationId xmlns:a16="http://schemas.microsoft.com/office/drawing/2014/main" id="{5E81EE16-A57A-DCEE-4C37-50994E3B0162}"/>
              </a:ext>
            </a:extLst>
          </p:cNvPr>
          <p:cNvPicPr>
            <a:picLocks noChangeAspect="1"/>
          </p:cNvPicPr>
          <p:nvPr userDrawn="1"/>
        </p:nvPicPr>
        <p:blipFill>
          <a:blip r:embed="rId5"/>
          <a:stretch>
            <a:fillRect/>
          </a:stretch>
        </p:blipFill>
        <p:spPr>
          <a:xfrm>
            <a:off x="6064538" y="5432727"/>
            <a:ext cx="1212832" cy="1248655"/>
          </a:xfrm>
          <a:prstGeom prst="rect">
            <a:avLst/>
          </a:prstGeom>
        </p:spPr>
      </p:pic>
    </p:spTree>
    <p:extLst>
      <p:ext uri="{BB962C8B-B14F-4D97-AF65-F5344CB8AC3E}">
        <p14:creationId xmlns:p14="http://schemas.microsoft.com/office/powerpoint/2010/main" val="4697277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94878B84-6E55-6945-9A2C-33D17A9109B8}"/>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lang="en-US" sz="3200" b="1" kern="1200" dirty="0">
                <a:gradFill>
                  <a:gsLst>
                    <a:gs pos="0">
                      <a:srgbClr val="00A0DF"/>
                    </a:gs>
                    <a:gs pos="100000">
                      <a:srgbClr val="00E1D9"/>
                    </a:gs>
                  </a:gsLst>
                  <a:lin ang="4800000" scaled="0"/>
                </a:gradFill>
                <a:latin typeface="+mj-lt"/>
                <a:ea typeface="+mj-ea"/>
                <a:cs typeface="Segoe UI" panose="020B0502040204020203" pitchFamily="34" charset="0"/>
              </a:defRPr>
            </a:lvl1pPr>
          </a:lstStyle>
          <a:p>
            <a:r>
              <a:rPr lang="en-GB"/>
              <a:t>CLICK TO EDIT MASTER TITLE STYLE</a:t>
            </a:r>
            <a:endParaRPr lang="en-US"/>
          </a:p>
        </p:txBody>
      </p:sp>
      <p:sp>
        <p:nvSpPr>
          <p:cNvPr id="15" name="Rectangle 14">
            <a:extLst>
              <a:ext uri="{FF2B5EF4-FFF2-40B4-BE49-F238E27FC236}">
                <a16:creationId xmlns:a16="http://schemas.microsoft.com/office/drawing/2014/main" id="{96EAE40F-0B43-5847-8296-616333A3B6F9}"/>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69DE5CB2-C189-694F-BD13-A79411519845}"/>
              </a:ext>
            </a:extLst>
          </p:cNvPr>
          <p:cNvSpPr>
            <a:spLocks noGrp="1"/>
          </p:cNvSpPr>
          <p:nvPr>
            <p:ph type="body" sz="quarter" idx="10"/>
          </p:nvPr>
        </p:nvSpPr>
        <p:spPr>
          <a:xfrm>
            <a:off x="838200" y="1854200"/>
            <a:ext cx="5722938" cy="3182938"/>
          </a:xfrm>
          <a:prstGeom prst="rect">
            <a:avLst/>
          </a:prstGeom>
        </p:spPr>
        <p:txBody>
          <a:bodyPr/>
          <a:lstStyle>
            <a:lvl1pPr marL="342900" indent="-342900" algn="l" defTabSz="742950" rtl="0" eaLnBrk="1" latinLnBrk="0" hangingPunct="1">
              <a:lnSpc>
                <a:spcPct val="120000"/>
              </a:lnSpc>
              <a:buClr>
                <a:srgbClr val="00A0DF"/>
              </a:buClr>
              <a:buFont typeface=".PingFang SC Regular"/>
              <a:buChar char="◎"/>
              <a:defRPr lang="en-GB" sz="2400" kern="1200" dirty="0" smtClean="0">
                <a:solidFill>
                  <a:schemeClr val="tx1">
                    <a:lumMod val="75000"/>
                    <a:lumOff val="25000"/>
                  </a:schemeClr>
                </a:solidFill>
                <a:latin typeface="Segoe UI Light" panose="020B0502040204020203" pitchFamily="34" charset="0"/>
                <a:ea typeface="+mn-ea"/>
                <a:cs typeface="Segoe UI" panose="020B0502040204020203" pitchFamily="34" charset="0"/>
              </a:defRPr>
            </a:lvl1pPr>
          </a:lstStyle>
          <a:p>
            <a:pPr lvl="0"/>
            <a:r>
              <a:rPr lang="en-GB"/>
              <a:t>Click to edit Master text styles</a:t>
            </a:r>
            <a:endParaRPr lang="en-US"/>
          </a:p>
        </p:txBody>
      </p:sp>
      <p:pic>
        <p:nvPicPr>
          <p:cNvPr id="2" name="Picture 1" descr="Logo&#10;&#10;Description automatically generated">
            <a:extLst>
              <a:ext uri="{FF2B5EF4-FFF2-40B4-BE49-F238E27FC236}">
                <a16:creationId xmlns:a16="http://schemas.microsoft.com/office/drawing/2014/main" id="{EE20AD0D-31AF-48EF-DDEE-290879C684E8}"/>
              </a:ext>
            </a:extLst>
          </p:cNvPr>
          <p:cNvPicPr>
            <a:picLocks noChangeAspect="1"/>
          </p:cNvPicPr>
          <p:nvPr userDrawn="1"/>
        </p:nvPicPr>
        <p:blipFill rotWithShape="1">
          <a:blip r:embed="rId2"/>
          <a:srcRect r="42473"/>
          <a:stretch/>
        </p:blipFill>
        <p:spPr>
          <a:xfrm>
            <a:off x="4643725" y="5407522"/>
            <a:ext cx="1498455" cy="1248654"/>
          </a:xfrm>
          <a:prstGeom prst="rect">
            <a:avLst/>
          </a:prstGeom>
        </p:spPr>
      </p:pic>
      <p:pic>
        <p:nvPicPr>
          <p:cNvPr id="3" name="Picture 2" descr="Icon&#10;&#10;Description automatically generated">
            <a:extLst>
              <a:ext uri="{FF2B5EF4-FFF2-40B4-BE49-F238E27FC236}">
                <a16:creationId xmlns:a16="http://schemas.microsoft.com/office/drawing/2014/main" id="{27A23693-6E96-E5B7-C24D-0886E3578486}"/>
              </a:ext>
            </a:extLst>
          </p:cNvPr>
          <p:cNvPicPr>
            <a:picLocks noChangeAspect="1"/>
          </p:cNvPicPr>
          <p:nvPr userDrawn="1"/>
        </p:nvPicPr>
        <p:blipFill>
          <a:blip r:embed="rId3"/>
          <a:stretch>
            <a:fillRect/>
          </a:stretch>
        </p:blipFill>
        <p:spPr>
          <a:xfrm>
            <a:off x="6059171" y="5407519"/>
            <a:ext cx="1212832" cy="1248655"/>
          </a:xfrm>
          <a:prstGeom prst="rect">
            <a:avLst/>
          </a:prstGeom>
        </p:spPr>
      </p:pic>
    </p:spTree>
    <p:extLst>
      <p:ext uri="{BB962C8B-B14F-4D97-AF65-F5344CB8AC3E}">
        <p14:creationId xmlns:p14="http://schemas.microsoft.com/office/powerpoint/2010/main" val="19168954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60777-1DB4-2540-A27A-0AF86D9D87F7}"/>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sz="3600">
                <a:solidFill>
                  <a:schemeClr val="accent1"/>
                </a:solidFill>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1B55D741-C909-2E4A-ABE3-EA5F777D8B1B}"/>
              </a:ext>
            </a:extLst>
          </p:cNvPr>
          <p:cNvSpPr>
            <a:spLocks noGrp="1"/>
          </p:cNvSpPr>
          <p:nvPr>
            <p:ph idx="1"/>
          </p:nvPr>
        </p:nvSpPr>
        <p:spPr>
          <a:xfrm>
            <a:off x="838200" y="1825625"/>
            <a:ext cx="10515600" cy="435133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Rectangle 6">
            <a:extLst>
              <a:ext uri="{FF2B5EF4-FFF2-40B4-BE49-F238E27FC236}">
                <a16:creationId xmlns:a16="http://schemas.microsoft.com/office/drawing/2014/main" id="{CA6F8066-99EA-4F40-9A0F-CB2DBEEEEE5B}"/>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943246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48621F-FD2A-9F44-94B1-E6AD741BD364}"/>
              </a:ext>
            </a:extLst>
          </p:cNvPr>
          <p:cNvPicPr>
            <a:picLocks noChangeAspect="1"/>
          </p:cNvPicPr>
          <p:nvPr userDrawn="1"/>
        </p:nvPicPr>
        <p:blipFill rotWithShape="1">
          <a:blip r:embed="rId2"/>
          <a:srcRect t="17641" r="1268" b="4290"/>
          <a:stretch/>
        </p:blipFill>
        <p:spPr>
          <a:xfrm>
            <a:off x="0" y="1159563"/>
            <a:ext cx="12192000" cy="4185670"/>
          </a:xfrm>
          <a:prstGeom prst="rect">
            <a:avLst/>
          </a:prstGeom>
        </p:spPr>
      </p:pic>
      <p:pic>
        <p:nvPicPr>
          <p:cNvPr id="8" name="Picture 7" descr="Logo&#10;&#10;Description automatically generated">
            <a:extLst>
              <a:ext uri="{FF2B5EF4-FFF2-40B4-BE49-F238E27FC236}">
                <a16:creationId xmlns:a16="http://schemas.microsoft.com/office/drawing/2014/main" id="{91B3083A-D98E-0346-9504-5052D2BEE8E8}"/>
              </a:ext>
            </a:extLst>
          </p:cNvPr>
          <p:cNvPicPr>
            <a:picLocks noChangeAspect="1"/>
          </p:cNvPicPr>
          <p:nvPr userDrawn="1"/>
        </p:nvPicPr>
        <p:blipFill rotWithShape="1">
          <a:blip r:embed="rId3"/>
          <a:srcRect r="42473"/>
          <a:stretch/>
        </p:blipFill>
        <p:spPr>
          <a:xfrm>
            <a:off x="4089378" y="5407519"/>
            <a:ext cx="1498455" cy="1248654"/>
          </a:xfrm>
          <a:prstGeom prst="rect">
            <a:avLst/>
          </a:prstGeom>
        </p:spPr>
      </p:pic>
      <p:pic>
        <p:nvPicPr>
          <p:cNvPr id="9" name="Picture 2" descr="Joint letter to the Dutch government ahead of the EU Dutch ...">
            <a:extLst>
              <a:ext uri="{FF2B5EF4-FFF2-40B4-BE49-F238E27FC236}">
                <a16:creationId xmlns:a16="http://schemas.microsoft.com/office/drawing/2014/main" id="{6D5A91FE-CA2C-3C44-A452-0798C2E3980D}"/>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b="17387"/>
          <a:stretch/>
        </p:blipFill>
        <p:spPr bwMode="auto">
          <a:xfrm>
            <a:off x="5651259" y="-10274"/>
            <a:ext cx="2822400" cy="110755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Icon&#10;&#10;Description automatically generated">
            <a:extLst>
              <a:ext uri="{FF2B5EF4-FFF2-40B4-BE49-F238E27FC236}">
                <a16:creationId xmlns:a16="http://schemas.microsoft.com/office/drawing/2014/main" id="{BFEDA028-F4E7-424B-9509-D1D0FD6AA573}"/>
              </a:ext>
            </a:extLst>
          </p:cNvPr>
          <p:cNvPicPr>
            <a:picLocks noChangeAspect="1"/>
          </p:cNvPicPr>
          <p:nvPr userDrawn="1"/>
        </p:nvPicPr>
        <p:blipFill>
          <a:blip r:embed="rId5"/>
          <a:stretch>
            <a:fillRect/>
          </a:stretch>
        </p:blipFill>
        <p:spPr>
          <a:xfrm>
            <a:off x="5504824" y="5407516"/>
            <a:ext cx="1212832" cy="1248655"/>
          </a:xfrm>
          <a:prstGeom prst="rect">
            <a:avLst/>
          </a:prstGeom>
        </p:spPr>
      </p:pic>
      <p:sp>
        <p:nvSpPr>
          <p:cNvPr id="11" name="Text Placeholder 2">
            <a:extLst>
              <a:ext uri="{FF2B5EF4-FFF2-40B4-BE49-F238E27FC236}">
                <a16:creationId xmlns:a16="http://schemas.microsoft.com/office/drawing/2014/main" id="{DE6EF542-6A6B-C944-BD24-0DA3B018A6BE}"/>
              </a:ext>
            </a:extLst>
          </p:cNvPr>
          <p:cNvSpPr>
            <a:spLocks noGrp="1"/>
          </p:cNvSpPr>
          <p:nvPr>
            <p:ph type="body" sz="quarter" idx="10"/>
          </p:nvPr>
        </p:nvSpPr>
        <p:spPr>
          <a:xfrm>
            <a:off x="515936" y="2539610"/>
            <a:ext cx="8540382" cy="1425575"/>
          </a:xfrm>
          <a:prstGeom prst="rect">
            <a:avLst/>
          </a:prstGeom>
        </p:spPr>
        <p:txBody>
          <a:bodyPr>
            <a:noAutofit/>
          </a:bodyPr>
          <a:lstStyle>
            <a:lvl1pPr marL="0" indent="0">
              <a:buNone/>
              <a:defRPr sz="7200">
                <a:solidFill>
                  <a:schemeClr val="bg1"/>
                </a:solidFill>
                <a:latin typeface="+mj-lt"/>
              </a:defRPr>
            </a:lvl1pPr>
            <a:lvl2pPr marL="457200" indent="0">
              <a:buNone/>
              <a:defRPr sz="6000">
                <a:solidFill>
                  <a:schemeClr val="bg1"/>
                </a:solidFill>
                <a:latin typeface="+mj-lt"/>
              </a:defRPr>
            </a:lvl2pPr>
            <a:lvl3pPr marL="914400" indent="0">
              <a:buNone/>
              <a:defRPr sz="6000">
                <a:solidFill>
                  <a:schemeClr val="bg1"/>
                </a:solidFill>
                <a:latin typeface="+mj-lt"/>
              </a:defRPr>
            </a:lvl3pPr>
            <a:lvl4pPr marL="1371600" indent="0">
              <a:buNone/>
              <a:defRPr sz="6000">
                <a:solidFill>
                  <a:schemeClr val="bg1"/>
                </a:solidFill>
                <a:latin typeface="+mj-lt"/>
              </a:defRPr>
            </a:lvl4pPr>
            <a:lvl5pPr marL="1828800" indent="0">
              <a:buNone/>
              <a:defRPr sz="6000">
                <a:solidFill>
                  <a:schemeClr val="bg1"/>
                </a:solidFill>
                <a:latin typeface="+mj-lt"/>
              </a:defRPr>
            </a:lvl5pPr>
          </a:lstStyle>
          <a:p>
            <a:pPr lvl="0"/>
            <a:r>
              <a:rPr lang="en-GB"/>
              <a:t>Click to edit Master text styles</a:t>
            </a:r>
            <a:endParaRPr lang="en-US"/>
          </a:p>
        </p:txBody>
      </p:sp>
    </p:spTree>
    <p:extLst>
      <p:ext uri="{BB962C8B-B14F-4D97-AF65-F5344CB8AC3E}">
        <p14:creationId xmlns:p14="http://schemas.microsoft.com/office/powerpoint/2010/main" val="34464497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9E2BBF-665C-1B48-A206-EA46E7EBA33A}"/>
              </a:ext>
            </a:extLst>
          </p:cNvPr>
          <p:cNvSpPr>
            <a:spLocks noGrp="1"/>
          </p:cNvSpPr>
          <p:nvPr>
            <p:ph sz="half" idx="1"/>
          </p:nvPr>
        </p:nvSpPr>
        <p:spPr>
          <a:xfrm>
            <a:off x="838200" y="1825625"/>
            <a:ext cx="5181600" cy="435133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8C5AF1E-1FF4-2C45-81EA-C4FEE3B68CC0}"/>
              </a:ext>
            </a:extLst>
          </p:cNvPr>
          <p:cNvSpPr>
            <a:spLocks noGrp="1"/>
          </p:cNvSpPr>
          <p:nvPr>
            <p:ph sz="half" idx="2"/>
          </p:nvPr>
        </p:nvSpPr>
        <p:spPr>
          <a:xfrm>
            <a:off x="6172200" y="1825625"/>
            <a:ext cx="5181600" cy="435133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1">
            <a:extLst>
              <a:ext uri="{FF2B5EF4-FFF2-40B4-BE49-F238E27FC236}">
                <a16:creationId xmlns:a16="http://schemas.microsoft.com/office/drawing/2014/main" id="{2F83A5E9-8A6B-C34B-82B1-60CBEFEAD454}"/>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sz="3600">
                <a:solidFill>
                  <a:schemeClr val="accent1"/>
                </a:solidFill>
              </a:defRPr>
            </a:lvl1pPr>
          </a:lstStyle>
          <a:p>
            <a:r>
              <a:rPr lang="en-GB"/>
              <a:t>CLICK TO EDIT MASTER TITLE STYLE</a:t>
            </a:r>
            <a:endParaRPr lang="en-US"/>
          </a:p>
        </p:txBody>
      </p:sp>
      <p:sp>
        <p:nvSpPr>
          <p:cNvPr id="9" name="Rectangle 8">
            <a:extLst>
              <a:ext uri="{FF2B5EF4-FFF2-40B4-BE49-F238E27FC236}">
                <a16:creationId xmlns:a16="http://schemas.microsoft.com/office/drawing/2014/main" id="{CA6663DA-4CED-D443-9798-E856FDD200FF}"/>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Logo&#10;&#10;Description automatically generated">
            <a:extLst>
              <a:ext uri="{FF2B5EF4-FFF2-40B4-BE49-F238E27FC236}">
                <a16:creationId xmlns:a16="http://schemas.microsoft.com/office/drawing/2014/main" id="{373CE673-F54B-6346-B288-CC7384198500}"/>
              </a:ext>
            </a:extLst>
          </p:cNvPr>
          <p:cNvPicPr>
            <a:picLocks noChangeAspect="1"/>
          </p:cNvPicPr>
          <p:nvPr userDrawn="1"/>
        </p:nvPicPr>
        <p:blipFill rotWithShape="1">
          <a:blip r:embed="rId2"/>
          <a:srcRect r="42473"/>
          <a:stretch/>
        </p:blipFill>
        <p:spPr>
          <a:xfrm>
            <a:off x="10861506" y="-18748"/>
            <a:ext cx="735328" cy="620892"/>
          </a:xfrm>
          <a:prstGeom prst="rect">
            <a:avLst/>
          </a:prstGeom>
        </p:spPr>
      </p:pic>
      <p:pic>
        <p:nvPicPr>
          <p:cNvPr id="5" name="Picture 4" descr="Icon&#10;&#10;Description automatically generated">
            <a:extLst>
              <a:ext uri="{FF2B5EF4-FFF2-40B4-BE49-F238E27FC236}">
                <a16:creationId xmlns:a16="http://schemas.microsoft.com/office/drawing/2014/main" id="{142B8854-64F0-E503-52CD-641952602FDC}"/>
              </a:ext>
            </a:extLst>
          </p:cNvPr>
          <p:cNvPicPr>
            <a:picLocks noChangeAspect="1"/>
          </p:cNvPicPr>
          <p:nvPr userDrawn="1"/>
        </p:nvPicPr>
        <p:blipFill>
          <a:blip r:embed="rId3"/>
          <a:stretch>
            <a:fillRect/>
          </a:stretch>
        </p:blipFill>
        <p:spPr>
          <a:xfrm>
            <a:off x="11596834" y="-28995"/>
            <a:ext cx="595165" cy="620892"/>
          </a:xfrm>
          <a:prstGeom prst="rect">
            <a:avLst/>
          </a:prstGeom>
        </p:spPr>
      </p:pic>
      <p:sp>
        <p:nvSpPr>
          <p:cNvPr id="6" name="Rectangle 5">
            <a:extLst>
              <a:ext uri="{FF2B5EF4-FFF2-40B4-BE49-F238E27FC236}">
                <a16:creationId xmlns:a16="http://schemas.microsoft.com/office/drawing/2014/main" id="{2DBD7ACD-EA09-2B0F-82E2-FAEFFBF481E2}"/>
              </a:ext>
            </a:extLst>
          </p:cNvPr>
          <p:cNvSpPr/>
          <p:nvPr userDrawn="1"/>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39114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503163-1DB0-0E46-99A9-A633FEBEF585}"/>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i="0">
                <a:latin typeface="Segoe UI Semibold" panose="020B0502040204020203" pitchFamily="34" charset="0"/>
                <a:cs typeface="Segoe UI Semibold"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D3D0900-DF06-2241-B038-56C32288EB3F}"/>
              </a:ext>
            </a:extLst>
          </p:cNvPr>
          <p:cNvSpPr>
            <a:spLocks noGrp="1"/>
          </p:cNvSpPr>
          <p:nvPr>
            <p:ph sz="half" idx="2"/>
          </p:nvPr>
        </p:nvSpPr>
        <p:spPr>
          <a:xfrm>
            <a:off x="839788" y="2505075"/>
            <a:ext cx="5157787" cy="368458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DFAD4A4-847D-C94F-BE9A-21B527586D81}"/>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i="0">
                <a:latin typeface="Segoe UI Semibold" panose="020B0502040204020203" pitchFamily="34" charset="0"/>
                <a:cs typeface="Segoe UI Semibold"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8F6F743-AE8B-7545-A50F-350B8405D011}"/>
              </a:ext>
            </a:extLst>
          </p:cNvPr>
          <p:cNvSpPr>
            <a:spLocks noGrp="1"/>
          </p:cNvSpPr>
          <p:nvPr>
            <p:ph sz="quarter" idx="4"/>
          </p:nvPr>
        </p:nvSpPr>
        <p:spPr>
          <a:xfrm>
            <a:off x="6172200" y="2505075"/>
            <a:ext cx="5183188" cy="368458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itle 1">
            <a:extLst>
              <a:ext uri="{FF2B5EF4-FFF2-40B4-BE49-F238E27FC236}">
                <a16:creationId xmlns:a16="http://schemas.microsoft.com/office/drawing/2014/main" id="{21F524E1-0C5D-9340-8C8A-A6931D3AA43B}"/>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sz="3600">
                <a:solidFill>
                  <a:schemeClr val="accent1"/>
                </a:solidFill>
              </a:defRPr>
            </a:lvl1pPr>
          </a:lstStyle>
          <a:p>
            <a:r>
              <a:rPr lang="en-GB"/>
              <a:t>CLICK TO EDIT MASTER TITLE STYLE</a:t>
            </a:r>
            <a:endParaRPr lang="en-US"/>
          </a:p>
        </p:txBody>
      </p:sp>
      <p:sp>
        <p:nvSpPr>
          <p:cNvPr id="11" name="Rectangle 10">
            <a:extLst>
              <a:ext uri="{FF2B5EF4-FFF2-40B4-BE49-F238E27FC236}">
                <a16:creationId xmlns:a16="http://schemas.microsoft.com/office/drawing/2014/main" id="{345CDA96-C742-E14D-A8D4-AEA80BEFA089}"/>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574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BCCAED3-F1BF-AB4D-9713-ABF6C7DF1EE4}"/>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sz="3600">
                <a:solidFill>
                  <a:schemeClr val="accent1"/>
                </a:solidFill>
              </a:defRPr>
            </a:lvl1pPr>
          </a:lstStyle>
          <a:p>
            <a:r>
              <a:rPr lang="en-GB"/>
              <a:t>CLICK TO EDIT MASTER TITLE STYLE</a:t>
            </a:r>
            <a:endParaRPr lang="en-US"/>
          </a:p>
        </p:txBody>
      </p:sp>
      <p:sp>
        <p:nvSpPr>
          <p:cNvPr id="7" name="Rectangle 6">
            <a:extLst>
              <a:ext uri="{FF2B5EF4-FFF2-40B4-BE49-F238E27FC236}">
                <a16:creationId xmlns:a16="http://schemas.microsoft.com/office/drawing/2014/main" id="{FCDCDD09-4A06-DC42-90CC-DE82495E7D72}"/>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6622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5398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D6EFB-101D-DF42-B90E-2711C03FA90A}"/>
              </a:ext>
            </a:extLst>
          </p:cNvPr>
          <p:cNvSpPr>
            <a:spLocks noGrp="1"/>
          </p:cNvSpPr>
          <p:nvPr>
            <p:ph type="title" hasCustomPrompt="1"/>
          </p:nvPr>
        </p:nvSpPr>
        <p:spPr>
          <a:xfrm>
            <a:off x="839788" y="457200"/>
            <a:ext cx="3932237" cy="1600200"/>
          </a:xfrm>
          <a:prstGeom prst="rect">
            <a:avLst/>
          </a:prstGeom>
        </p:spPr>
        <p:txBody>
          <a:bodyPr anchor="b">
            <a:normAutofit/>
          </a:bodyPr>
          <a:lstStyle>
            <a:lvl1pPr>
              <a:defRPr sz="3600">
                <a:solidFill>
                  <a:schemeClr val="accent1"/>
                </a:solidFill>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FD6CFC23-66A4-2D4B-AE7B-0DC163C98789}"/>
              </a:ext>
            </a:extLst>
          </p:cNvPr>
          <p:cNvSpPr>
            <a:spLocks noGrp="1"/>
          </p:cNvSpPr>
          <p:nvPr>
            <p:ph idx="1"/>
          </p:nvPr>
        </p:nvSpPr>
        <p:spPr>
          <a:xfrm>
            <a:off x="5183188" y="987425"/>
            <a:ext cx="6172200" cy="4873625"/>
          </a:xfrm>
          <a:prstGeom prst="rect">
            <a:avLst/>
          </a:prstGeom>
        </p:spPr>
        <p:txBody>
          <a:bodyPr/>
          <a:lstStyle>
            <a:lvl1pPr marL="228600" indent="-228600">
              <a:buClr>
                <a:schemeClr val="accent1"/>
              </a:buClr>
              <a:buFont typeface="System Font Regular"/>
              <a:buChar char="•"/>
              <a:defRPr sz="3200"/>
            </a:lvl1pPr>
            <a:lvl2pPr marL="685800" indent="-228600">
              <a:buClr>
                <a:schemeClr val="accent1"/>
              </a:buClr>
              <a:buFont typeface="System Font Regular"/>
              <a:buChar char="•"/>
              <a:defRPr sz="2800"/>
            </a:lvl2pPr>
            <a:lvl3pPr marL="1143000" indent="-228600">
              <a:buClr>
                <a:schemeClr val="accent1"/>
              </a:buClr>
              <a:buFont typeface="System Font Regular"/>
              <a:buChar char="•"/>
              <a:defRPr sz="2400"/>
            </a:lvl3pPr>
            <a:lvl4pPr marL="1600200" indent="-228600">
              <a:buClr>
                <a:schemeClr val="accent1"/>
              </a:buClr>
              <a:buFont typeface="System Font Regular"/>
              <a:buChar char="•"/>
              <a:defRPr sz="2000"/>
            </a:lvl4pPr>
            <a:lvl5pPr marL="2057400" indent="-228600">
              <a:buClr>
                <a:schemeClr val="accent1"/>
              </a:buClr>
              <a:buFont typeface="System Font Regular"/>
              <a:buChar cha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86070290-BC1C-F846-B7B1-D3CF134CFA3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Rectangle 7">
            <a:extLst>
              <a:ext uri="{FF2B5EF4-FFF2-40B4-BE49-F238E27FC236}">
                <a16:creationId xmlns:a16="http://schemas.microsoft.com/office/drawing/2014/main" id="{D1FF5BC4-4329-4848-A284-DBBFFEA252B4}"/>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2602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CEF535-975D-6BB1-C121-41DBA4E8ED3A}"/>
              </a:ext>
            </a:extLst>
          </p:cNvPr>
          <p:cNvGraphicFramePr>
            <a:graphicFrameLocks noChangeAspect="1"/>
          </p:cNvGraphicFramePr>
          <p:nvPr userDrawn="1">
            <p:custDataLst>
              <p:tags r:id="rId13"/>
            </p:custDataLst>
            <p:extLst>
              <p:ext uri="{D42A27DB-BD31-4B8C-83A1-F6EECF244321}">
                <p14:modId xmlns:p14="http://schemas.microsoft.com/office/powerpoint/2010/main" val="291400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2" name="Object 1" hidden="1">
                        <a:extLst>
                          <a:ext uri="{FF2B5EF4-FFF2-40B4-BE49-F238E27FC236}">
                            <a16:creationId xmlns:a16="http://schemas.microsoft.com/office/drawing/2014/main" id="{6ACEF535-975D-6BB1-C121-41DBA4E8ED3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894436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hyperlink" Target="mailto:info@newforesight.com" TargetMode="External"/><Relationship Id="rId4" Type="http://schemas.openxmlformats.org/officeDocument/2006/relationships/hyperlink" Target="mailto:vwi@rvo.n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9794B-86DF-B2B9-4B9A-8A393DB40B9D}"/>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3" name="Rectangle 2">
            <a:extLst>
              <a:ext uri="{FF2B5EF4-FFF2-40B4-BE49-F238E27FC236}">
                <a16:creationId xmlns:a16="http://schemas.microsoft.com/office/drawing/2014/main" id="{8EDECE36-CF72-E157-044B-C22517EF5C91}"/>
              </a:ext>
            </a:extLst>
          </p:cNvPr>
          <p:cNvSpPr/>
          <p:nvPr/>
        </p:nvSpPr>
        <p:spPr>
          <a:xfrm>
            <a:off x="698540" y="3178098"/>
            <a:ext cx="7259190" cy="3354138"/>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1332235">
              <a:defRPr/>
            </a:pPr>
            <a:r>
              <a:rPr lang="en-GB" sz="1400">
                <a:solidFill>
                  <a:schemeClr val="tx1"/>
                </a:solidFill>
                <a:latin typeface="Segoe UI Light" panose="020B0502040204020203" pitchFamily="34" charset="0"/>
                <a:cs typeface="Segoe UI Light" panose="020B0502040204020203" pitchFamily="34" charset="0"/>
              </a:rPr>
              <a:t>The world is facing many water-related issues, for instance around water availability, accessibility and quality, as well as effective flood prevention, adaptation and mitigation. </a:t>
            </a:r>
            <a:r>
              <a:rPr lang="en-GB" sz="1400" b="1">
                <a:solidFill>
                  <a:schemeClr val="tx1"/>
                </a:solidFill>
                <a:latin typeface="Segoe UI Light" panose="020B0502040204020203" pitchFamily="34" charset="0"/>
                <a:cs typeface="Segoe UI Light" panose="020B0502040204020203" pitchFamily="34" charset="0"/>
              </a:rPr>
              <a:t>Many of these issues are systemic in nature</a:t>
            </a:r>
            <a:r>
              <a:rPr lang="en-GB" sz="1400">
                <a:solidFill>
                  <a:schemeClr val="tx1"/>
                </a:solidFill>
                <a:latin typeface="Segoe UI Light" panose="020B0502040204020203" pitchFamily="34" charset="0"/>
                <a:cs typeface="Segoe UI Light" panose="020B0502040204020203" pitchFamily="34" charset="0"/>
              </a:rPr>
              <a:t>, meaning they are highly complex to define, let alone solve.</a:t>
            </a:r>
          </a:p>
          <a:p>
            <a:pPr algn="just" defTabSz="1332235">
              <a:defRPr/>
            </a:pPr>
            <a:endParaRPr lang="en-GB" sz="1400">
              <a:solidFill>
                <a:schemeClr val="tx1"/>
              </a:solidFill>
              <a:latin typeface="Segoe UI Light" panose="020B0502040204020203" pitchFamily="34" charset="0"/>
              <a:cs typeface="Segoe UI Light" panose="020B0502040204020203" pitchFamily="34" charset="0"/>
            </a:endParaRPr>
          </a:p>
          <a:p>
            <a:pPr algn="just" defTabSz="1332235">
              <a:defRPr/>
            </a:pPr>
            <a:r>
              <a:rPr lang="en-GB" sz="1400">
                <a:solidFill>
                  <a:schemeClr val="tx1"/>
                </a:solidFill>
                <a:latin typeface="Segoe UI Light" panose="020B0502040204020203" pitchFamily="34" charset="0"/>
                <a:cs typeface="Segoe UI Light" panose="020B0502040204020203" pitchFamily="34" charset="0"/>
              </a:rPr>
              <a:t>This tool offers a guide to help you recognize, </a:t>
            </a:r>
            <a:r>
              <a:rPr lang="en-GB" sz="1400" err="1">
                <a:solidFill>
                  <a:schemeClr val="tx1"/>
                </a:solidFill>
                <a:latin typeface="Segoe UI Light" panose="020B0502040204020203" pitchFamily="34" charset="0"/>
                <a:cs typeface="Segoe UI Light" panose="020B0502040204020203" pitchFamily="34" charset="0"/>
              </a:rPr>
              <a:t>analyze</a:t>
            </a:r>
            <a:r>
              <a:rPr lang="en-GB" sz="1400">
                <a:solidFill>
                  <a:schemeClr val="tx1"/>
                </a:solidFill>
                <a:latin typeface="Segoe UI Light" panose="020B0502040204020203" pitchFamily="34" charset="0"/>
                <a:cs typeface="Segoe UI Light" panose="020B0502040204020203" pitchFamily="34" charset="0"/>
              </a:rPr>
              <a:t> and address systemic water challenges in your approach. It provides an explanation of </a:t>
            </a:r>
            <a:r>
              <a:rPr lang="en-GB" sz="1400" b="1">
                <a:solidFill>
                  <a:schemeClr val="tx1"/>
                </a:solidFill>
                <a:latin typeface="Segoe UI Light" panose="020B0502040204020203" pitchFamily="34" charset="0"/>
                <a:cs typeface="Segoe UI Light" panose="020B0502040204020203" pitchFamily="34" charset="0"/>
              </a:rPr>
              <a:t>what systemic issues are </a:t>
            </a:r>
            <a:r>
              <a:rPr lang="en-GB" sz="1400">
                <a:solidFill>
                  <a:schemeClr val="tx1"/>
                </a:solidFill>
                <a:latin typeface="Segoe UI Light" panose="020B0502040204020203" pitchFamily="34" charset="0"/>
                <a:cs typeface="Segoe UI Light" panose="020B0502040204020203" pitchFamily="34" charset="0"/>
              </a:rPr>
              <a:t>and why it is important to </a:t>
            </a:r>
            <a:r>
              <a:rPr lang="en-GB" sz="1400" b="1">
                <a:solidFill>
                  <a:schemeClr val="tx1"/>
                </a:solidFill>
                <a:latin typeface="Segoe UI Light" panose="020B0502040204020203" pitchFamily="34" charset="0"/>
                <a:cs typeface="Segoe UI Light" panose="020B0502040204020203" pitchFamily="34" charset="0"/>
              </a:rPr>
              <a:t>address them with a systemic approach</a:t>
            </a:r>
            <a:r>
              <a:rPr lang="en-GB" sz="1400">
                <a:solidFill>
                  <a:schemeClr val="tx1"/>
                </a:solidFill>
                <a:latin typeface="Segoe UI Light" panose="020B0502040204020203" pitchFamily="34" charset="0"/>
                <a:cs typeface="Segoe UI Light" panose="020B0502040204020203" pitchFamily="34" charset="0"/>
              </a:rPr>
              <a:t>. It then outlines the main characteristics of systemic issues and provides an analysis tool to </a:t>
            </a:r>
            <a:r>
              <a:rPr lang="en-GB" sz="1400" b="1">
                <a:solidFill>
                  <a:schemeClr val="tx1"/>
                </a:solidFill>
                <a:latin typeface="Segoe UI Light" panose="020B0502040204020203" pitchFamily="34" charset="0"/>
                <a:cs typeface="Segoe UI Light" panose="020B0502040204020203" pitchFamily="34" charset="0"/>
              </a:rPr>
              <a:t>quickly assess </a:t>
            </a:r>
            <a:r>
              <a:rPr lang="en-GB" sz="1400">
                <a:solidFill>
                  <a:schemeClr val="tx1"/>
                </a:solidFill>
                <a:latin typeface="Segoe UI Light" panose="020B0502040204020203" pitchFamily="34" charset="0"/>
                <a:cs typeface="Segoe UI Light" panose="020B0502040204020203" pitchFamily="34" charset="0"/>
              </a:rPr>
              <a:t>which of these characteristics mostly apply to the challenge you are dealing with. The next part of this document gives an overview and analysis template of </a:t>
            </a:r>
            <a:r>
              <a:rPr lang="en-GB" sz="1400" b="1">
                <a:solidFill>
                  <a:schemeClr val="tx1"/>
                </a:solidFill>
                <a:latin typeface="Segoe UI Light" panose="020B0502040204020203" pitchFamily="34" charset="0"/>
                <a:cs typeface="Segoe UI Light" panose="020B0502040204020203" pitchFamily="34" charset="0"/>
              </a:rPr>
              <a:t>four loops </a:t>
            </a:r>
            <a:r>
              <a:rPr lang="en-GB" sz="1400">
                <a:solidFill>
                  <a:schemeClr val="tx1"/>
                </a:solidFill>
                <a:latin typeface="Segoe UI Light" panose="020B0502040204020203" pitchFamily="34" charset="0"/>
                <a:cs typeface="Segoe UI Light" panose="020B0502040204020203" pitchFamily="34" charset="0"/>
              </a:rPr>
              <a:t>which can be used to reveal the </a:t>
            </a:r>
            <a:r>
              <a:rPr lang="en-GB" sz="1400" b="1">
                <a:solidFill>
                  <a:schemeClr val="tx1"/>
                </a:solidFill>
                <a:latin typeface="Segoe UI Light" panose="020B0502040204020203" pitchFamily="34" charset="0"/>
                <a:cs typeface="Segoe UI Light" panose="020B0502040204020203" pitchFamily="34" charset="0"/>
              </a:rPr>
              <a:t>root causes </a:t>
            </a:r>
            <a:r>
              <a:rPr lang="en-GB" sz="1400">
                <a:solidFill>
                  <a:schemeClr val="tx1"/>
                </a:solidFill>
                <a:latin typeface="Segoe UI Light" panose="020B0502040204020203" pitchFamily="34" charset="0"/>
                <a:cs typeface="Segoe UI Light" panose="020B0502040204020203" pitchFamily="34" charset="0"/>
              </a:rPr>
              <a:t>which eventually lead to the unsustainable outcomes we see in the system, or our grand water challenges. The final two parts consist of an exercise to elucidate the </a:t>
            </a:r>
            <a:r>
              <a:rPr lang="en-GB" sz="1400" b="1">
                <a:solidFill>
                  <a:schemeClr val="tx1"/>
                </a:solidFill>
                <a:latin typeface="Segoe UI Light" panose="020B0502040204020203" pitchFamily="34" charset="0"/>
                <a:cs typeface="Segoe UI Light" panose="020B0502040204020203" pitchFamily="34" charset="0"/>
              </a:rPr>
              <a:t>intertwined elements and dynamics </a:t>
            </a:r>
            <a:r>
              <a:rPr lang="en-GB" sz="1400">
                <a:solidFill>
                  <a:schemeClr val="tx1"/>
                </a:solidFill>
                <a:latin typeface="Segoe UI Light" panose="020B0502040204020203" pitchFamily="34" charset="0"/>
                <a:cs typeface="Segoe UI Light" panose="020B0502040204020203" pitchFamily="34" charset="0"/>
              </a:rPr>
              <a:t>of water systems, and a </a:t>
            </a:r>
            <a:r>
              <a:rPr lang="en-GB" sz="1400" b="1">
                <a:solidFill>
                  <a:schemeClr val="tx1"/>
                </a:solidFill>
                <a:latin typeface="Segoe UI Light" panose="020B0502040204020203" pitchFamily="34" charset="0"/>
                <a:cs typeface="Segoe UI Light" panose="020B0502040204020203" pitchFamily="34" charset="0"/>
              </a:rPr>
              <a:t>reflection on the implications </a:t>
            </a:r>
            <a:r>
              <a:rPr lang="en-GB" sz="1400">
                <a:solidFill>
                  <a:schemeClr val="tx1"/>
                </a:solidFill>
                <a:latin typeface="Segoe UI Light" panose="020B0502040204020203" pitchFamily="34" charset="0"/>
                <a:cs typeface="Segoe UI Light" panose="020B0502040204020203" pitchFamily="34" charset="0"/>
              </a:rPr>
              <a:t>of all of the prior parts for any approach addressing water challenges.</a:t>
            </a:r>
          </a:p>
        </p:txBody>
      </p:sp>
      <p:sp>
        <p:nvSpPr>
          <p:cNvPr id="5" name="Title 1">
            <a:extLst>
              <a:ext uri="{FF2B5EF4-FFF2-40B4-BE49-F238E27FC236}">
                <a16:creationId xmlns:a16="http://schemas.microsoft.com/office/drawing/2014/main" id="{AE65E11B-E400-D9F2-10F7-8A4C6F125520}"/>
              </a:ext>
            </a:extLst>
          </p:cNvPr>
          <p:cNvSpPr txBox="1">
            <a:spLocks/>
          </p:cNvSpPr>
          <p:nvPr/>
        </p:nvSpPr>
        <p:spPr>
          <a:xfrm>
            <a:off x="698540" y="2768026"/>
            <a:ext cx="7259190" cy="410072"/>
          </a:xfrm>
          <a:prstGeom prst="rect">
            <a:avLst/>
          </a:prstGeom>
        </p:spPr>
        <p:txBody>
          <a:bodyPr vert="horz" lIns="61120" tIns="30560" rIns="61120" bIns="3056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1872" b="1">
                <a:gradFill>
                  <a:gsLst>
                    <a:gs pos="0">
                      <a:srgbClr val="00A0DF"/>
                    </a:gs>
                    <a:gs pos="100000">
                      <a:srgbClr val="00E1D9"/>
                    </a:gs>
                  </a:gsLst>
                  <a:lin ang="4800000" scaled="0"/>
                </a:gradFill>
                <a:latin typeface="Segoe UI Semibold (Headings)"/>
                <a:cs typeface="Segoe UI" panose="020B0502040204020203" pitchFamily="34" charset="0"/>
              </a:rPr>
              <a:t>What it is</a:t>
            </a:r>
          </a:p>
        </p:txBody>
      </p:sp>
      <p:sp>
        <p:nvSpPr>
          <p:cNvPr id="8" name="Title 1">
            <a:extLst>
              <a:ext uri="{FF2B5EF4-FFF2-40B4-BE49-F238E27FC236}">
                <a16:creationId xmlns:a16="http://schemas.microsoft.com/office/drawing/2014/main" id="{B0685EF2-81A4-CABF-A5BC-82E04787E280}"/>
              </a:ext>
            </a:extLst>
          </p:cNvPr>
          <p:cNvSpPr txBox="1">
            <a:spLocks/>
          </p:cNvSpPr>
          <p:nvPr/>
        </p:nvSpPr>
        <p:spPr>
          <a:xfrm>
            <a:off x="698541" y="958642"/>
            <a:ext cx="11085962" cy="410072"/>
          </a:xfrm>
          <a:prstGeom prst="rect">
            <a:avLst/>
          </a:prstGeom>
        </p:spPr>
        <p:txBody>
          <a:bodyPr vert="horz" lIns="61120" tIns="30560" rIns="61120" bIns="3056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1872" b="1">
                <a:gradFill>
                  <a:gsLst>
                    <a:gs pos="0">
                      <a:srgbClr val="00A0DF"/>
                    </a:gs>
                    <a:gs pos="100000">
                      <a:srgbClr val="00E1D9"/>
                    </a:gs>
                  </a:gsLst>
                  <a:lin ang="4800000" scaled="0"/>
                </a:gradFill>
                <a:latin typeface="Segoe UI Semibold (Headings)"/>
                <a:cs typeface="Segoe UI" panose="020B0502040204020203" pitchFamily="34" charset="0"/>
              </a:rPr>
              <a:t>Purpose of this tool</a:t>
            </a:r>
          </a:p>
        </p:txBody>
      </p:sp>
      <p:sp>
        <p:nvSpPr>
          <p:cNvPr id="9" name="Rectangle 8">
            <a:extLst>
              <a:ext uri="{FF2B5EF4-FFF2-40B4-BE49-F238E27FC236}">
                <a16:creationId xmlns:a16="http://schemas.microsoft.com/office/drawing/2014/main" id="{3D588E30-0DA7-AF72-9B33-7A818C3FB181}"/>
              </a:ext>
            </a:extLst>
          </p:cNvPr>
          <p:cNvSpPr/>
          <p:nvPr/>
        </p:nvSpPr>
        <p:spPr>
          <a:xfrm>
            <a:off x="698541" y="1371812"/>
            <a:ext cx="7143533" cy="1396214"/>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defTabSz="1332235">
              <a:defRPr/>
            </a:pPr>
            <a:r>
              <a:rPr lang="en-GB" sz="1400">
                <a:solidFill>
                  <a:schemeClr val="tx1"/>
                </a:solidFill>
                <a:latin typeface="Segoe UI Light" panose="020B0502040204020203" pitchFamily="34" charset="0"/>
                <a:cs typeface="Segoe UI Light" panose="020B0502040204020203" pitchFamily="34" charset="0"/>
              </a:rPr>
              <a:t>This tool aims to help you answer the following </a:t>
            </a:r>
            <a:r>
              <a:rPr lang="en-GB" sz="1400" b="1">
                <a:solidFill>
                  <a:schemeClr val="tx1"/>
                </a:solidFill>
                <a:latin typeface="Segoe UI Light" panose="020B0502040204020203" pitchFamily="34" charset="0"/>
                <a:cs typeface="Segoe UI Light" panose="020B0502040204020203" pitchFamily="34" charset="0"/>
              </a:rPr>
              <a:t>five questions</a:t>
            </a:r>
            <a:r>
              <a:rPr lang="en-GB" sz="1400">
                <a:solidFill>
                  <a:schemeClr val="tx1"/>
                </a:solidFill>
                <a:latin typeface="Segoe UI Light" panose="020B0502040204020203" pitchFamily="34" charset="0"/>
                <a:cs typeface="Segoe UI Light" panose="020B0502040204020203" pitchFamily="34" charset="0"/>
              </a:rPr>
              <a:t>:</a:t>
            </a:r>
          </a:p>
          <a:p>
            <a:pPr marL="342900" indent="-342900">
              <a:buAutoNum type="arabicPeriod"/>
            </a:pPr>
            <a:r>
              <a:rPr lang="en-GB" sz="1400"/>
              <a:t>Why is it important to understand systems and take a systemic approach?</a:t>
            </a:r>
          </a:p>
          <a:p>
            <a:pPr marL="342900" indent="-342900">
              <a:buAutoNum type="arabicPeriod"/>
            </a:pPr>
            <a:r>
              <a:rPr lang="en-GB" sz="1400"/>
              <a:t>How to recognize the systemic characteristics of an issue and address them?</a:t>
            </a:r>
          </a:p>
          <a:p>
            <a:pPr marL="342900" indent="-342900">
              <a:buAutoNum type="arabicPeriod"/>
            </a:pPr>
            <a:r>
              <a:rPr lang="en-GB" sz="1400"/>
              <a:t>How to identify the root causes of a systemic issue?</a:t>
            </a:r>
          </a:p>
          <a:p>
            <a:pPr marL="342900" indent="-342900">
              <a:buAutoNum type="arabicPeriod"/>
            </a:pPr>
            <a:r>
              <a:rPr lang="en-GB" sz="1400"/>
              <a:t>What are the interconnected elements of the system in which I operate?</a:t>
            </a:r>
          </a:p>
          <a:p>
            <a:pPr marL="342900" indent="-342900">
              <a:buAutoNum type="arabicPeriod"/>
            </a:pPr>
            <a:r>
              <a:rPr lang="en-GB" sz="1400"/>
              <a:t>What are the implications for my approach?</a:t>
            </a:r>
          </a:p>
        </p:txBody>
      </p:sp>
      <p:pic>
        <p:nvPicPr>
          <p:cNvPr id="10" name="Picture 9" descr="Logo&#10;&#10;Description automatically generated">
            <a:extLst>
              <a:ext uri="{FF2B5EF4-FFF2-40B4-BE49-F238E27FC236}">
                <a16:creationId xmlns:a16="http://schemas.microsoft.com/office/drawing/2014/main" id="{2C837095-4550-776B-BB7B-370A3CEBF6E2}"/>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11" name="Picture 10" descr="Icon&#10;&#10;Description automatically generated">
            <a:extLst>
              <a:ext uri="{FF2B5EF4-FFF2-40B4-BE49-F238E27FC236}">
                <a16:creationId xmlns:a16="http://schemas.microsoft.com/office/drawing/2014/main" id="{77302298-FD2A-67AB-0908-D5FB3781C232}"/>
              </a:ext>
            </a:extLst>
          </p:cNvPr>
          <p:cNvPicPr>
            <a:picLocks noChangeAspect="1"/>
          </p:cNvPicPr>
          <p:nvPr/>
        </p:nvPicPr>
        <p:blipFill>
          <a:blip r:embed="rId3"/>
          <a:stretch>
            <a:fillRect/>
          </a:stretch>
        </p:blipFill>
        <p:spPr>
          <a:xfrm>
            <a:off x="11596834" y="-28995"/>
            <a:ext cx="595165" cy="620892"/>
          </a:xfrm>
          <a:prstGeom prst="rect">
            <a:avLst/>
          </a:prstGeom>
        </p:spPr>
      </p:pic>
      <p:sp>
        <p:nvSpPr>
          <p:cNvPr id="12" name="Rectangle 11">
            <a:extLst>
              <a:ext uri="{FF2B5EF4-FFF2-40B4-BE49-F238E27FC236}">
                <a16:creationId xmlns:a16="http://schemas.microsoft.com/office/drawing/2014/main" id="{EDAA55FF-B5BE-46F5-8C9C-53330DD84604}"/>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736F972D-5E48-9564-BF7C-13EBC47A933E}"/>
              </a:ext>
            </a:extLst>
          </p:cNvPr>
          <p:cNvSpPr/>
          <p:nvPr/>
        </p:nvSpPr>
        <p:spPr>
          <a:xfrm>
            <a:off x="8249571" y="1400638"/>
            <a:ext cx="3534932" cy="513159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902353">
              <a:defRPr/>
            </a:pPr>
            <a:r>
              <a:rPr lang="en-GB" sz="1400">
                <a:solidFill>
                  <a:schemeClr val="tx1"/>
                </a:solidFill>
                <a:latin typeface="Segoe UI Light" panose="020B0502040204020203" pitchFamily="34" charset="0"/>
                <a:cs typeface="Segoe UI Light" panose="020B0502040204020203" pitchFamily="34" charset="0"/>
              </a:rPr>
              <a:t>This tool can be used by water management professionals, policy makers and any other person interested in better understanding the shared water system in which they operate, in various ways:</a:t>
            </a:r>
          </a:p>
          <a:p>
            <a:pPr marL="342900" indent="-342900" algn="just" defTabSz="902353">
              <a:buFont typeface="+mj-lt"/>
              <a:buAutoNum type="arabicPeriod"/>
              <a:defRPr/>
            </a:pPr>
            <a:r>
              <a:rPr lang="en-GB" sz="1400">
                <a:solidFill>
                  <a:schemeClr val="tx1"/>
                </a:solidFill>
                <a:latin typeface="Segoe UI Light" panose="020B0502040204020203" pitchFamily="34" charset="0"/>
                <a:cs typeface="Segoe UI Light" panose="020B0502040204020203" pitchFamily="34" charset="0"/>
              </a:rPr>
              <a:t>To </a:t>
            </a:r>
            <a:r>
              <a:rPr lang="en-GB" sz="1400" b="1">
                <a:solidFill>
                  <a:schemeClr val="tx1"/>
                </a:solidFill>
                <a:latin typeface="Segoe UI Light" panose="020B0502040204020203" pitchFamily="34" charset="0"/>
                <a:cs typeface="Segoe UI Light" panose="020B0502040204020203" pitchFamily="34" charset="0"/>
              </a:rPr>
              <a:t>read and learn </a:t>
            </a:r>
            <a:r>
              <a:rPr lang="en-GB" sz="1400">
                <a:solidFill>
                  <a:schemeClr val="tx1"/>
                </a:solidFill>
                <a:latin typeface="Segoe UI Light" panose="020B0502040204020203" pitchFamily="34" charset="0"/>
                <a:cs typeface="Segoe UI Light" panose="020B0502040204020203" pitchFamily="34" charset="0"/>
              </a:rPr>
              <a:t>more about systemic issues and approaches;</a:t>
            </a:r>
          </a:p>
          <a:p>
            <a:pPr marL="342900" indent="-342900" algn="just" defTabSz="902353">
              <a:buFont typeface="+mj-lt"/>
              <a:buAutoNum type="arabicPeriod"/>
              <a:defRPr/>
            </a:pPr>
            <a:r>
              <a:rPr lang="en-GB" sz="1400">
                <a:solidFill>
                  <a:schemeClr val="tx1"/>
                </a:solidFill>
                <a:latin typeface="Segoe UI Light" panose="020B0502040204020203" pitchFamily="34" charset="0"/>
                <a:cs typeface="Segoe UI Light" panose="020B0502040204020203" pitchFamily="34" charset="0"/>
              </a:rPr>
              <a:t>To </a:t>
            </a:r>
            <a:r>
              <a:rPr lang="en-GB" sz="1400" b="1">
                <a:solidFill>
                  <a:schemeClr val="tx1"/>
                </a:solidFill>
                <a:latin typeface="Segoe UI Light" panose="020B0502040204020203" pitchFamily="34" charset="0"/>
                <a:cs typeface="Segoe UI Light" panose="020B0502040204020203" pitchFamily="34" charset="0"/>
              </a:rPr>
              <a:t>do exercises to </a:t>
            </a:r>
            <a:r>
              <a:rPr lang="en-GB" sz="1400" b="1" err="1">
                <a:solidFill>
                  <a:schemeClr val="tx1"/>
                </a:solidFill>
                <a:latin typeface="Segoe UI Light" panose="020B0502040204020203" pitchFamily="34" charset="0"/>
                <a:cs typeface="Segoe UI Light" panose="020B0502040204020203" pitchFamily="34" charset="0"/>
              </a:rPr>
              <a:t>analyze</a:t>
            </a:r>
            <a:r>
              <a:rPr lang="en-GB" sz="1400" b="1">
                <a:solidFill>
                  <a:schemeClr val="tx1"/>
                </a:solidFill>
                <a:latin typeface="Segoe UI Light" panose="020B0502040204020203" pitchFamily="34" charset="0"/>
                <a:cs typeface="Segoe UI Light" panose="020B0502040204020203" pitchFamily="34" charset="0"/>
              </a:rPr>
              <a:t> </a:t>
            </a:r>
            <a:r>
              <a:rPr lang="en-GB" sz="1400">
                <a:solidFill>
                  <a:schemeClr val="tx1"/>
                </a:solidFill>
                <a:latin typeface="Segoe UI Light" panose="020B0502040204020203" pitchFamily="34" charset="0"/>
                <a:cs typeface="Segoe UI Light" panose="020B0502040204020203" pitchFamily="34" charset="0"/>
              </a:rPr>
              <a:t>the systemic characteristics of a certain water issue, the root causes of the issue, and the elements and dynamics of the water system;</a:t>
            </a:r>
          </a:p>
          <a:p>
            <a:pPr marL="342900" indent="-342900" algn="just" defTabSz="902353">
              <a:buFont typeface="+mj-lt"/>
              <a:buAutoNum type="arabicPeriod"/>
              <a:defRPr/>
            </a:pPr>
            <a:r>
              <a:rPr lang="en-GB" sz="1400">
                <a:solidFill>
                  <a:schemeClr val="tx1"/>
                </a:solidFill>
                <a:latin typeface="Segoe UI Light" panose="020B0502040204020203" pitchFamily="34" charset="0"/>
                <a:cs typeface="Segoe UI Light" panose="020B0502040204020203" pitchFamily="34" charset="0"/>
              </a:rPr>
              <a:t>As a </a:t>
            </a:r>
            <a:r>
              <a:rPr lang="en-GB" sz="1400" b="1">
                <a:solidFill>
                  <a:schemeClr val="tx1"/>
                </a:solidFill>
                <a:latin typeface="Segoe UI Light" panose="020B0502040204020203" pitchFamily="34" charset="0"/>
                <a:cs typeface="Segoe UI Light" panose="020B0502040204020203" pitchFamily="34" charset="0"/>
              </a:rPr>
              <a:t>basis for discussing </a:t>
            </a:r>
            <a:r>
              <a:rPr lang="en-GB" sz="1400">
                <a:solidFill>
                  <a:schemeClr val="tx1"/>
                </a:solidFill>
                <a:latin typeface="Segoe UI Light" panose="020B0502040204020203" pitchFamily="34" charset="0"/>
                <a:cs typeface="Segoe UI Light" panose="020B0502040204020203" pitchFamily="34" charset="0"/>
              </a:rPr>
              <a:t>your water system and approach with stakeholders inside or outside your organization.</a:t>
            </a:r>
          </a:p>
          <a:p>
            <a:pPr algn="just" defTabSz="902353">
              <a:defRPr/>
            </a:pPr>
            <a:endParaRPr lang="en-GB" sz="1400">
              <a:solidFill>
                <a:schemeClr val="tx1"/>
              </a:solidFill>
              <a:latin typeface="Segoe UI Light" panose="020B0502040204020203" pitchFamily="34" charset="0"/>
              <a:cs typeface="Segoe UI Light" panose="020B0502040204020203" pitchFamily="34" charset="0"/>
            </a:endParaRPr>
          </a:p>
          <a:p>
            <a:pPr algn="just" defTabSz="902353">
              <a:defRPr/>
            </a:pPr>
            <a:r>
              <a:rPr lang="en-GB" sz="1400">
                <a:solidFill>
                  <a:schemeClr val="tx1"/>
                </a:solidFill>
                <a:latin typeface="Segoe UI Light" panose="020B0502040204020203" pitchFamily="34" charset="0"/>
                <a:cs typeface="Segoe UI Light" panose="020B0502040204020203" pitchFamily="34" charset="0"/>
              </a:rPr>
              <a:t>Though it is valuable to do the exercises in the analysis parts by yourself, we recommend discussing your thinking with others. Hearing other stakeholders’ perspectives on the system will likely lead to a deeper understanding of the main (underlying) issues and how to address them.</a:t>
            </a:r>
          </a:p>
        </p:txBody>
      </p:sp>
      <p:sp>
        <p:nvSpPr>
          <p:cNvPr id="7" name="Title 1">
            <a:extLst>
              <a:ext uri="{FF2B5EF4-FFF2-40B4-BE49-F238E27FC236}">
                <a16:creationId xmlns:a16="http://schemas.microsoft.com/office/drawing/2014/main" id="{859C7CCB-94EA-A3D7-5555-D83ACEC1656F}"/>
              </a:ext>
            </a:extLst>
          </p:cNvPr>
          <p:cNvSpPr txBox="1">
            <a:spLocks/>
          </p:cNvSpPr>
          <p:nvPr/>
        </p:nvSpPr>
        <p:spPr>
          <a:xfrm>
            <a:off x="8242223" y="958642"/>
            <a:ext cx="3534932" cy="410072"/>
          </a:xfrm>
          <a:prstGeom prst="rect">
            <a:avLst/>
          </a:prstGeom>
        </p:spPr>
        <p:txBody>
          <a:bodyPr vert="horz" lIns="61120" tIns="30560" rIns="61120" bIns="3056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1872" b="1">
                <a:gradFill>
                  <a:gsLst>
                    <a:gs pos="0">
                      <a:srgbClr val="00A0DF"/>
                    </a:gs>
                    <a:gs pos="100000">
                      <a:srgbClr val="00E1D9"/>
                    </a:gs>
                  </a:gsLst>
                  <a:lin ang="4800000" scaled="0"/>
                </a:gradFill>
                <a:latin typeface="Segoe UI Semibold (Headings)"/>
                <a:cs typeface="Segoe UI" panose="020B0502040204020203" pitchFamily="34" charset="0"/>
              </a:rPr>
              <a:t>How to use it</a:t>
            </a:r>
          </a:p>
        </p:txBody>
      </p:sp>
    </p:spTree>
    <p:extLst>
      <p:ext uri="{BB962C8B-B14F-4D97-AF65-F5344CB8AC3E}">
        <p14:creationId xmlns:p14="http://schemas.microsoft.com/office/powerpoint/2010/main" val="1637072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B6F35-C464-CB1A-98D8-84BA1D1241EB}"/>
              </a:ext>
            </a:extLst>
          </p:cNvPr>
          <p:cNvSpPr>
            <a:spLocks noGrp="1"/>
          </p:cNvSpPr>
          <p:nvPr>
            <p:ph idx="1"/>
          </p:nvPr>
        </p:nvSpPr>
        <p:spPr>
          <a:xfrm>
            <a:off x="4576399" y="1825625"/>
            <a:ext cx="6777401" cy="1937984"/>
          </a:xfrm>
        </p:spPr>
        <p:txBody>
          <a:bodyPr/>
          <a:lstStyle/>
          <a:p>
            <a:pPr marL="0" indent="0" algn="just">
              <a:buNone/>
            </a:pPr>
            <a:r>
              <a:rPr lang="en-US" sz="1600"/>
              <a:t>The third loop is the </a:t>
            </a:r>
            <a:r>
              <a:rPr lang="en-US" sz="1600" b="1"/>
              <a:t>externalities loop</a:t>
            </a:r>
            <a:r>
              <a:rPr lang="en-US" sz="1600"/>
              <a:t>. This loop asks the question of who feels the negative consequences of the unsustainable behavior. If this differs from the ones causing the issue, there are fewer incentives to change the system. This is what happens when the values of marginalized groups are not included in decision-making around water. Who feels the consequences of these decisions may also differ in the short- and long-term.</a:t>
            </a:r>
          </a:p>
        </p:txBody>
      </p:sp>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3. How to identify the root causes of a systemic issue?</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2" name="Content Placeholder 2">
            <a:extLst>
              <a:ext uri="{FF2B5EF4-FFF2-40B4-BE49-F238E27FC236}">
                <a16:creationId xmlns:a16="http://schemas.microsoft.com/office/drawing/2014/main" id="{FB26B996-F76D-CCFC-DF73-F1B5C4EB47FF}"/>
              </a:ext>
            </a:extLst>
          </p:cNvPr>
          <p:cNvSpPr txBox="1">
            <a:spLocks/>
          </p:cNvSpPr>
          <p:nvPr/>
        </p:nvSpPr>
        <p:spPr>
          <a:xfrm>
            <a:off x="884114" y="3605662"/>
            <a:ext cx="3399128" cy="2175706"/>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3"/>
              </a:buClr>
            </a:pPr>
            <a:r>
              <a:rPr lang="en-GB" sz="1600"/>
              <a:t>Are the negative consequences felt by the ones who are causing them? </a:t>
            </a:r>
          </a:p>
          <a:p>
            <a:pPr>
              <a:buClr>
                <a:schemeClr val="accent3"/>
              </a:buClr>
            </a:pPr>
            <a:r>
              <a:rPr lang="en-GB" sz="1600"/>
              <a:t>Are these negative consequences felt by the ones causing them in the short-term, or only on a longer-term?</a:t>
            </a:r>
          </a:p>
          <a:p>
            <a:pPr>
              <a:buClr>
                <a:schemeClr val="accent3"/>
              </a:buClr>
            </a:pPr>
            <a:r>
              <a:rPr lang="en-GB" sz="1600"/>
              <a:t>Are marginalized groups represented, seen and heard in one way or another?</a:t>
            </a:r>
          </a:p>
        </p:txBody>
      </p:sp>
      <p:sp>
        <p:nvSpPr>
          <p:cNvPr id="10" name="Rectangle 9">
            <a:extLst>
              <a:ext uri="{FF2B5EF4-FFF2-40B4-BE49-F238E27FC236}">
                <a16:creationId xmlns:a16="http://schemas.microsoft.com/office/drawing/2014/main" id="{18B36C14-70B7-08AE-8B4F-909DCED30C8E}"/>
              </a:ext>
            </a:extLst>
          </p:cNvPr>
          <p:cNvSpPr/>
          <p:nvPr/>
        </p:nvSpPr>
        <p:spPr>
          <a:xfrm>
            <a:off x="4692316" y="3605661"/>
            <a:ext cx="6801594" cy="2847003"/>
          </a:xfrm>
          <a:prstGeom prst="rect">
            <a:avLst/>
          </a:prstGeom>
          <a:solidFill>
            <a:schemeClr val="bg1"/>
          </a:solid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b="1">
                <a:solidFill>
                  <a:schemeClr val="tx1"/>
                </a:solidFill>
              </a:rPr>
              <a:t>Case example:</a:t>
            </a:r>
          </a:p>
          <a:p>
            <a:pPr algn="just"/>
            <a:r>
              <a:rPr lang="en-US" sz="1400">
                <a:solidFill>
                  <a:schemeClr val="tx1"/>
                </a:solidFill>
              </a:rPr>
              <a:t>The negative consequences of a polluted river are likely not felt by the companies which use them to discharge their wastewater. Instead, the stakeholders who depend on the water from the river for drinking, cooking, agriculture, recreation and other purposes feel the consequences. In addition, these consequences are felt inherently by the water of the river and the wider ecosystem. This may affect many more stakeholders, and ultimately even the textile industry if at some point there is no more clean water to use in production processes. On the short-term, however, the textile industry only experiences the benefits of their behavior and not the negative externalities. They will therefore not change their behavior, unless a sense of urgency is created for the sector. This can be done, for instance, by amplifying the voice of the marginalized stakeholders which depend on the water from the river for living.</a:t>
            </a:r>
          </a:p>
        </p:txBody>
      </p:sp>
      <p:sp>
        <p:nvSpPr>
          <p:cNvPr id="4" name="Arrow: Circular 3">
            <a:extLst>
              <a:ext uri="{FF2B5EF4-FFF2-40B4-BE49-F238E27FC236}">
                <a16:creationId xmlns:a16="http://schemas.microsoft.com/office/drawing/2014/main" id="{70A30EED-F6CD-6881-F92F-67254CDF0834}"/>
              </a:ext>
            </a:extLst>
          </p:cNvPr>
          <p:cNvSpPr/>
          <p:nvPr/>
        </p:nvSpPr>
        <p:spPr>
          <a:xfrm rot="9715989">
            <a:off x="1527927" y="1659908"/>
            <a:ext cx="1800000" cy="1800000"/>
          </a:xfrm>
          <a:prstGeom prst="circularArrow">
            <a:avLst>
              <a:gd name="adj1" fmla="val 12198"/>
              <a:gd name="adj2" fmla="val 1142319"/>
              <a:gd name="adj3" fmla="val 20680099"/>
              <a:gd name="adj4" fmla="val 3308809"/>
              <a:gd name="adj5" fmla="val 125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Rectangle 8">
            <a:extLst>
              <a:ext uri="{FF2B5EF4-FFF2-40B4-BE49-F238E27FC236}">
                <a16:creationId xmlns:a16="http://schemas.microsoft.com/office/drawing/2014/main" id="{C7FD7C34-AE72-B31F-A198-42DE36C715B1}"/>
              </a:ext>
            </a:extLst>
          </p:cNvPr>
          <p:cNvSpPr/>
          <p:nvPr/>
        </p:nvSpPr>
        <p:spPr>
          <a:xfrm>
            <a:off x="1762754" y="2336613"/>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Externalities</a:t>
            </a:r>
          </a:p>
        </p:txBody>
      </p:sp>
      <p:sp>
        <p:nvSpPr>
          <p:cNvPr id="14" name="Rectangle 13">
            <a:extLst>
              <a:ext uri="{FF2B5EF4-FFF2-40B4-BE49-F238E27FC236}">
                <a16:creationId xmlns:a16="http://schemas.microsoft.com/office/drawing/2014/main" id="{2BB09AD9-7F8D-7A90-87BD-7350CB68F380}"/>
              </a:ext>
            </a:extLst>
          </p:cNvPr>
          <p:cNvSpPr/>
          <p:nvPr/>
        </p:nvSpPr>
        <p:spPr>
          <a:xfrm>
            <a:off x="595166" y="6446945"/>
            <a:ext cx="11691938" cy="383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Sources: ‘Changing the Game’ by Lucas Simons &amp; Andre Nijhof (2020) &amp; the </a:t>
            </a:r>
            <a:r>
              <a:rPr lang="en-US" sz="1200" i="1" err="1">
                <a:solidFill>
                  <a:schemeClr val="tx1"/>
                </a:solidFill>
              </a:rPr>
              <a:t>TransMission</a:t>
            </a:r>
            <a:r>
              <a:rPr lang="en-US" sz="1200" i="1">
                <a:solidFill>
                  <a:schemeClr val="tx1"/>
                </a:solidFill>
              </a:rPr>
              <a:t> framework by NewForesight, </a:t>
            </a:r>
            <a:r>
              <a:rPr lang="en-US" sz="1200" i="1" err="1">
                <a:solidFill>
                  <a:schemeClr val="tx1"/>
                </a:solidFill>
              </a:rPr>
              <a:t>Nyenrode</a:t>
            </a:r>
            <a:r>
              <a:rPr lang="en-US" sz="1200" i="1">
                <a:solidFill>
                  <a:schemeClr val="tx1"/>
                </a:solidFill>
              </a:rPr>
              <a:t> &amp; Copernicus Institute (2023)</a:t>
            </a:r>
          </a:p>
        </p:txBody>
      </p:sp>
    </p:spTree>
    <p:extLst>
      <p:ext uri="{BB962C8B-B14F-4D97-AF65-F5344CB8AC3E}">
        <p14:creationId xmlns:p14="http://schemas.microsoft.com/office/powerpoint/2010/main" val="28646846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B6F35-C464-CB1A-98D8-84BA1D1241EB}"/>
              </a:ext>
            </a:extLst>
          </p:cNvPr>
          <p:cNvSpPr>
            <a:spLocks noGrp="1"/>
          </p:cNvSpPr>
          <p:nvPr>
            <p:ph idx="1"/>
          </p:nvPr>
        </p:nvSpPr>
        <p:spPr>
          <a:xfrm>
            <a:off x="4576399" y="1825625"/>
            <a:ext cx="6777401" cy="1937984"/>
          </a:xfrm>
        </p:spPr>
        <p:txBody>
          <a:bodyPr/>
          <a:lstStyle/>
          <a:p>
            <a:pPr marL="0" indent="0" algn="just">
              <a:buNone/>
            </a:pPr>
            <a:r>
              <a:rPr lang="en-US" sz="1600"/>
              <a:t>The fourth and last loop represents the </a:t>
            </a:r>
            <a:r>
              <a:rPr lang="en-US" sz="1600" b="1"/>
              <a:t>alternatives </a:t>
            </a:r>
            <a:r>
              <a:rPr lang="en-US" sz="1600"/>
              <a:t>to the status quo. This includes alternatives to the behavior which is causing the unsustainable outcomes, such as new technologies or different processes. When these alternatives are lacking or too unattractive, the current situation will prevail.</a:t>
            </a:r>
          </a:p>
        </p:txBody>
      </p:sp>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3. How to identify the root causes of a systemic issue?</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2" name="Content Placeholder 2">
            <a:extLst>
              <a:ext uri="{FF2B5EF4-FFF2-40B4-BE49-F238E27FC236}">
                <a16:creationId xmlns:a16="http://schemas.microsoft.com/office/drawing/2014/main" id="{FB26B996-F76D-CCFC-DF73-F1B5C4EB47FF}"/>
              </a:ext>
            </a:extLst>
          </p:cNvPr>
          <p:cNvSpPr txBox="1">
            <a:spLocks/>
          </p:cNvSpPr>
          <p:nvPr/>
        </p:nvSpPr>
        <p:spPr>
          <a:xfrm>
            <a:off x="884114" y="3605662"/>
            <a:ext cx="3399128" cy="2175706"/>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4"/>
              </a:buClr>
            </a:pPr>
            <a:r>
              <a:rPr lang="en-GB" sz="1600"/>
              <a:t>Are there alternatives available to the unsustainable status quo? </a:t>
            </a:r>
          </a:p>
          <a:p>
            <a:pPr>
              <a:buClr>
                <a:schemeClr val="accent4"/>
              </a:buClr>
            </a:pPr>
            <a:r>
              <a:rPr lang="en-GB" sz="1600"/>
              <a:t>How attractive are these alternatives? Are the necessary conditions for change in place to use them?</a:t>
            </a:r>
          </a:p>
          <a:p>
            <a:pPr>
              <a:buClr>
                <a:schemeClr val="accent4"/>
              </a:buClr>
            </a:pPr>
            <a:r>
              <a:rPr lang="en-GB" sz="1600"/>
              <a:t>How heavy do insecurities and risks of the alternatives weigh?</a:t>
            </a:r>
          </a:p>
        </p:txBody>
      </p:sp>
      <p:sp>
        <p:nvSpPr>
          <p:cNvPr id="10" name="Rectangle 9">
            <a:extLst>
              <a:ext uri="{FF2B5EF4-FFF2-40B4-BE49-F238E27FC236}">
                <a16:creationId xmlns:a16="http://schemas.microsoft.com/office/drawing/2014/main" id="{18B36C14-70B7-08AE-8B4F-909DCED30C8E}"/>
              </a:ext>
            </a:extLst>
          </p:cNvPr>
          <p:cNvSpPr/>
          <p:nvPr/>
        </p:nvSpPr>
        <p:spPr>
          <a:xfrm>
            <a:off x="4692316" y="2959769"/>
            <a:ext cx="6801594" cy="3492896"/>
          </a:xfrm>
          <a:prstGeom prst="rect">
            <a:avLst/>
          </a:prstGeom>
          <a:solidFill>
            <a:schemeClr val="bg1"/>
          </a:solid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b="1">
                <a:solidFill>
                  <a:schemeClr val="tx1"/>
                </a:solidFill>
              </a:rPr>
              <a:t>Case example:</a:t>
            </a:r>
          </a:p>
          <a:p>
            <a:pPr algn="just"/>
            <a:r>
              <a:rPr lang="en-US" sz="1400">
                <a:solidFill>
                  <a:schemeClr val="tx1"/>
                </a:solidFill>
              </a:rPr>
              <a:t>A few alternatives to the current way of working in the textile industry are available. They include, for example, technological equipment to treat (and reuse) wastewater and natural or less harmful alternatives to dyes and chemicals. However, many of the available alternatives are not attractive for industry stakeholders to use, as they require significant investments and alternative ways of working. The pressure on the industry is not large enough to break the cycle of competition.</a:t>
            </a:r>
          </a:p>
          <a:p>
            <a:pPr algn="just"/>
            <a:r>
              <a:rPr lang="en-US" sz="1400">
                <a:solidFill>
                  <a:schemeClr val="tx1"/>
                </a:solidFill>
              </a:rPr>
              <a:t>To change the outcome of the system, stakeholders must change the underlying problems represented by these four system loops. Potential solutions should therefore include:</a:t>
            </a:r>
          </a:p>
          <a:p>
            <a:pPr marL="342900" indent="-342900" algn="just">
              <a:buFont typeface="+mj-lt"/>
              <a:buAutoNum type="arabicPeriod"/>
            </a:pPr>
            <a:r>
              <a:rPr lang="en-US" sz="1400">
                <a:solidFill>
                  <a:schemeClr val="tx1"/>
                </a:solidFill>
              </a:rPr>
              <a:t>The development of alternatives to hazardous chemicals and/or alternative ways of managing wastewater, and the conditions to change</a:t>
            </a:r>
          </a:p>
          <a:p>
            <a:pPr marL="342900" indent="-342900" algn="just">
              <a:buFont typeface="+mj-lt"/>
              <a:buAutoNum type="arabicPeriod"/>
            </a:pPr>
            <a:r>
              <a:rPr lang="en-US" sz="1400">
                <a:solidFill>
                  <a:schemeClr val="tx1"/>
                </a:solidFill>
              </a:rPr>
              <a:t>Incentives for industry players to implement the alternatives</a:t>
            </a:r>
          </a:p>
          <a:p>
            <a:pPr marL="342900" indent="-342900" algn="just">
              <a:buFont typeface="+mj-lt"/>
              <a:buAutoNum type="arabicPeriod"/>
            </a:pPr>
            <a:r>
              <a:rPr lang="en-US" sz="1400">
                <a:solidFill>
                  <a:schemeClr val="tx1"/>
                </a:solidFill>
              </a:rPr>
              <a:t>Incentives for governments to stimulate implementation of the alternatives</a:t>
            </a:r>
          </a:p>
          <a:p>
            <a:pPr marL="342900" indent="-342900" algn="just">
              <a:buFont typeface="+mj-lt"/>
              <a:buAutoNum type="arabicPeriod"/>
            </a:pPr>
            <a:r>
              <a:rPr lang="en-US" sz="1400">
                <a:solidFill>
                  <a:schemeClr val="tx1"/>
                </a:solidFill>
              </a:rPr>
              <a:t>A mechanism to internalize the negative consequences of unsustainable behavior for the ones causing it</a:t>
            </a:r>
          </a:p>
        </p:txBody>
      </p:sp>
      <p:sp>
        <p:nvSpPr>
          <p:cNvPr id="9" name="Rectangle 8">
            <a:extLst>
              <a:ext uri="{FF2B5EF4-FFF2-40B4-BE49-F238E27FC236}">
                <a16:creationId xmlns:a16="http://schemas.microsoft.com/office/drawing/2014/main" id="{C7FD7C34-AE72-B31F-A198-42DE36C715B1}"/>
              </a:ext>
            </a:extLst>
          </p:cNvPr>
          <p:cNvSpPr/>
          <p:nvPr/>
        </p:nvSpPr>
        <p:spPr>
          <a:xfrm>
            <a:off x="1762754" y="2336613"/>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Alternatives</a:t>
            </a:r>
          </a:p>
        </p:txBody>
      </p:sp>
      <p:sp>
        <p:nvSpPr>
          <p:cNvPr id="12" name="Arrow: Circular 11">
            <a:extLst>
              <a:ext uri="{FF2B5EF4-FFF2-40B4-BE49-F238E27FC236}">
                <a16:creationId xmlns:a16="http://schemas.microsoft.com/office/drawing/2014/main" id="{CC31312C-481C-D0B3-21CA-FF0CD620A7BA}"/>
              </a:ext>
            </a:extLst>
          </p:cNvPr>
          <p:cNvSpPr/>
          <p:nvPr/>
        </p:nvSpPr>
        <p:spPr>
          <a:xfrm rot="20268673">
            <a:off x="1489423" y="1647123"/>
            <a:ext cx="1800000" cy="1800000"/>
          </a:xfrm>
          <a:prstGeom prst="circularArrow">
            <a:avLst>
              <a:gd name="adj1" fmla="val 12198"/>
              <a:gd name="adj2" fmla="val 1142319"/>
              <a:gd name="adj3" fmla="val 20680099"/>
              <a:gd name="adj4" fmla="val 3308809"/>
              <a:gd name="adj5" fmla="val 125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Rectangle 13">
            <a:extLst>
              <a:ext uri="{FF2B5EF4-FFF2-40B4-BE49-F238E27FC236}">
                <a16:creationId xmlns:a16="http://schemas.microsoft.com/office/drawing/2014/main" id="{FF86AEFE-562C-D50E-D084-C36285CE7B11}"/>
              </a:ext>
            </a:extLst>
          </p:cNvPr>
          <p:cNvSpPr/>
          <p:nvPr/>
        </p:nvSpPr>
        <p:spPr>
          <a:xfrm>
            <a:off x="595166" y="6446945"/>
            <a:ext cx="11691938" cy="383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Sources: ‘Changing the Game’ by Lucas Simons &amp; Andre Nijhof (2020) &amp; the </a:t>
            </a:r>
            <a:r>
              <a:rPr lang="en-US" sz="1200" i="1" err="1">
                <a:solidFill>
                  <a:schemeClr val="tx1"/>
                </a:solidFill>
              </a:rPr>
              <a:t>TransMission</a:t>
            </a:r>
            <a:r>
              <a:rPr lang="en-US" sz="1200" i="1">
                <a:solidFill>
                  <a:schemeClr val="tx1"/>
                </a:solidFill>
              </a:rPr>
              <a:t> framework by NewForesight, </a:t>
            </a:r>
            <a:r>
              <a:rPr lang="en-US" sz="1200" i="1" err="1">
                <a:solidFill>
                  <a:schemeClr val="tx1"/>
                </a:solidFill>
              </a:rPr>
              <a:t>Nyenrode</a:t>
            </a:r>
            <a:r>
              <a:rPr lang="en-US" sz="1200" i="1">
                <a:solidFill>
                  <a:schemeClr val="tx1"/>
                </a:solidFill>
              </a:rPr>
              <a:t> &amp; Copernicus Institute (2023)</a:t>
            </a:r>
          </a:p>
        </p:txBody>
      </p:sp>
    </p:spTree>
    <p:extLst>
      <p:ext uri="{BB962C8B-B14F-4D97-AF65-F5344CB8AC3E}">
        <p14:creationId xmlns:p14="http://schemas.microsoft.com/office/powerpoint/2010/main" val="1475465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3. How to identify the root causes of a systemic issue?</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20" name="Content Placeholder 2">
            <a:extLst>
              <a:ext uri="{FF2B5EF4-FFF2-40B4-BE49-F238E27FC236}">
                <a16:creationId xmlns:a16="http://schemas.microsoft.com/office/drawing/2014/main" id="{6A702181-012B-7FF6-8D92-2A277CB55B13}"/>
              </a:ext>
            </a:extLst>
          </p:cNvPr>
          <p:cNvSpPr>
            <a:spLocks noGrp="1"/>
          </p:cNvSpPr>
          <p:nvPr>
            <p:ph idx="1"/>
          </p:nvPr>
        </p:nvSpPr>
        <p:spPr>
          <a:xfrm>
            <a:off x="5145772" y="1614289"/>
            <a:ext cx="6451062" cy="4838376"/>
          </a:xfrm>
        </p:spPr>
        <p:txBody>
          <a:bodyPr/>
          <a:lstStyle/>
          <a:p>
            <a:pPr marL="0" indent="0" algn="just">
              <a:buNone/>
            </a:pPr>
            <a:r>
              <a:rPr lang="en-US" sz="1600"/>
              <a:t>The four feedback loops are not acting by themselves, but they are a series of cause-and-effect relations which are at play at the same time and influence each other. </a:t>
            </a:r>
            <a:r>
              <a:rPr lang="en-US" sz="1600" b="1"/>
              <a:t>When the four loops coincide, they create unsustainable outcomes in the water system</a:t>
            </a:r>
            <a:r>
              <a:rPr lang="en-US" sz="1600"/>
              <a:t>. In our case example, the reward structure for actors in the textile industry, the lack of regulations from governments, the externalities not being felt by the polluters, and the lack of attractive alternatives together led to the pollution of the nearby river.</a:t>
            </a:r>
          </a:p>
          <a:p>
            <a:pPr marL="0" indent="0" algn="just">
              <a:buNone/>
            </a:pPr>
            <a:r>
              <a:rPr lang="en-US" sz="1600"/>
              <a:t>The first two loops (rewards and enabling environment) are </a:t>
            </a:r>
            <a:r>
              <a:rPr lang="en-US" sz="1600" b="1"/>
              <a:t>reinforcing loops </a:t>
            </a:r>
            <a:r>
              <a:rPr lang="en-US" sz="1600"/>
              <a:t>which help us understand how the system leads to an unsustainable outcome. The third and fourth loop are </a:t>
            </a:r>
            <a:r>
              <a:rPr lang="en-US" sz="1600" b="1"/>
              <a:t>balancing loops</a:t>
            </a:r>
            <a:r>
              <a:rPr lang="en-US" sz="1600"/>
              <a:t>. The externalities loop explains why the system does not correct itself, and the alternatives loop explains why it is difficult or unfeasible to change the default behavior. </a:t>
            </a:r>
            <a:r>
              <a:rPr lang="en-US" sz="1600" b="1"/>
              <a:t>Sustainability challenges are often the outcome of a system which for some reason has become unbalanced</a:t>
            </a:r>
            <a:r>
              <a:rPr lang="en-US" sz="1600"/>
              <a:t>.</a:t>
            </a:r>
          </a:p>
          <a:p>
            <a:pPr marL="0" indent="0" algn="just">
              <a:buNone/>
            </a:pPr>
            <a:r>
              <a:rPr lang="en-US" sz="1600"/>
              <a:t>When conducting a root cause analysis of a systemic issue, it is important to recognize that there is </a:t>
            </a:r>
            <a:r>
              <a:rPr lang="en-US" sz="1600" b="1"/>
              <a:t>not one single root cause </a:t>
            </a:r>
            <a:r>
              <a:rPr lang="en-US" sz="1600"/>
              <a:t>to the issue. Rather, a root cause system of various interacting elements and dynamics can be identified. The next slide includes a template for analyzing the root causes of the water challenge which you aim to address.</a:t>
            </a:r>
          </a:p>
        </p:txBody>
      </p:sp>
      <p:sp>
        <p:nvSpPr>
          <p:cNvPr id="2" name="Diamond 1">
            <a:extLst>
              <a:ext uri="{FF2B5EF4-FFF2-40B4-BE49-F238E27FC236}">
                <a16:creationId xmlns:a16="http://schemas.microsoft.com/office/drawing/2014/main" id="{7A2B8EBA-C793-BFD3-9525-0CA728042074}"/>
              </a:ext>
            </a:extLst>
          </p:cNvPr>
          <p:cNvSpPr/>
          <p:nvPr/>
        </p:nvSpPr>
        <p:spPr>
          <a:xfrm>
            <a:off x="1791004" y="2642782"/>
            <a:ext cx="2248009" cy="2448513"/>
          </a:xfrm>
          <a:prstGeom prst="diamond">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Outcomes</a:t>
            </a:r>
          </a:p>
        </p:txBody>
      </p:sp>
      <p:sp>
        <p:nvSpPr>
          <p:cNvPr id="3" name="Arrow: Circular 2">
            <a:extLst>
              <a:ext uri="{FF2B5EF4-FFF2-40B4-BE49-F238E27FC236}">
                <a16:creationId xmlns:a16="http://schemas.microsoft.com/office/drawing/2014/main" id="{932EF89D-1519-BA4A-228D-6A86E4D07203}"/>
              </a:ext>
            </a:extLst>
          </p:cNvPr>
          <p:cNvSpPr/>
          <p:nvPr/>
        </p:nvSpPr>
        <p:spPr>
          <a:xfrm rot="20268673">
            <a:off x="604813" y="2948371"/>
            <a:ext cx="1800000" cy="1800000"/>
          </a:xfrm>
          <a:prstGeom prst="circularArrow">
            <a:avLst>
              <a:gd name="adj1" fmla="val 12198"/>
              <a:gd name="adj2" fmla="val 1142319"/>
              <a:gd name="adj3" fmla="val 20680099"/>
              <a:gd name="adj4" fmla="val 3308809"/>
              <a:gd name="adj5" fmla="val 125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 name="Arrow: Circular 3">
            <a:extLst>
              <a:ext uri="{FF2B5EF4-FFF2-40B4-BE49-F238E27FC236}">
                <a16:creationId xmlns:a16="http://schemas.microsoft.com/office/drawing/2014/main" id="{AE8FD318-5F7C-43C6-8C19-9563C7F26D27}"/>
              </a:ext>
            </a:extLst>
          </p:cNvPr>
          <p:cNvSpPr/>
          <p:nvPr/>
        </p:nvSpPr>
        <p:spPr>
          <a:xfrm rot="14869921">
            <a:off x="2015009" y="4379601"/>
            <a:ext cx="1800000" cy="1800000"/>
          </a:xfrm>
          <a:prstGeom prst="circularArrow">
            <a:avLst>
              <a:gd name="adj1" fmla="val 12198"/>
              <a:gd name="adj2" fmla="val 1142319"/>
              <a:gd name="adj3" fmla="val 20680099"/>
              <a:gd name="adj4" fmla="val 3308809"/>
              <a:gd name="adj5" fmla="val 125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Arrow: Circular 8">
            <a:extLst>
              <a:ext uri="{FF2B5EF4-FFF2-40B4-BE49-F238E27FC236}">
                <a16:creationId xmlns:a16="http://schemas.microsoft.com/office/drawing/2014/main" id="{36BF1A66-7F1D-A104-4C94-0CBA18602D84}"/>
              </a:ext>
            </a:extLst>
          </p:cNvPr>
          <p:cNvSpPr/>
          <p:nvPr/>
        </p:nvSpPr>
        <p:spPr>
          <a:xfrm rot="4185214">
            <a:off x="2057219" y="1534361"/>
            <a:ext cx="1800000" cy="1800000"/>
          </a:xfrm>
          <a:prstGeom prst="circularArrow">
            <a:avLst>
              <a:gd name="adj1" fmla="val 12198"/>
              <a:gd name="adj2" fmla="val 1142319"/>
              <a:gd name="adj3" fmla="val 20680099"/>
              <a:gd name="adj4" fmla="val 3308809"/>
              <a:gd name="adj5" fmla="val 125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Arrow: Circular 9">
            <a:extLst>
              <a:ext uri="{FF2B5EF4-FFF2-40B4-BE49-F238E27FC236}">
                <a16:creationId xmlns:a16="http://schemas.microsoft.com/office/drawing/2014/main" id="{E797BAF6-92F5-39D5-B86C-A4F0D755A594}"/>
              </a:ext>
            </a:extLst>
          </p:cNvPr>
          <p:cNvSpPr/>
          <p:nvPr/>
        </p:nvSpPr>
        <p:spPr>
          <a:xfrm rot="9715989">
            <a:off x="3393372" y="3047262"/>
            <a:ext cx="1800000" cy="1800000"/>
          </a:xfrm>
          <a:prstGeom prst="circularArrow">
            <a:avLst>
              <a:gd name="adj1" fmla="val 12198"/>
              <a:gd name="adj2" fmla="val 1142319"/>
              <a:gd name="adj3" fmla="val 20680099"/>
              <a:gd name="adj4" fmla="val 3308809"/>
              <a:gd name="adj5" fmla="val 125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Rectangle 11">
            <a:extLst>
              <a:ext uri="{FF2B5EF4-FFF2-40B4-BE49-F238E27FC236}">
                <a16:creationId xmlns:a16="http://schemas.microsoft.com/office/drawing/2014/main" id="{9A11774B-2BD9-FF22-340F-EE1DB586AF01}"/>
              </a:ext>
            </a:extLst>
          </p:cNvPr>
          <p:cNvSpPr/>
          <p:nvPr/>
        </p:nvSpPr>
        <p:spPr>
          <a:xfrm>
            <a:off x="2280827" y="5157495"/>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Rewards</a:t>
            </a:r>
          </a:p>
        </p:txBody>
      </p:sp>
      <p:sp>
        <p:nvSpPr>
          <p:cNvPr id="13" name="Rectangle 12">
            <a:extLst>
              <a:ext uri="{FF2B5EF4-FFF2-40B4-BE49-F238E27FC236}">
                <a16:creationId xmlns:a16="http://schemas.microsoft.com/office/drawing/2014/main" id="{B190B1CB-9656-C74E-8941-38581F992E1E}"/>
              </a:ext>
            </a:extLst>
          </p:cNvPr>
          <p:cNvSpPr/>
          <p:nvPr/>
        </p:nvSpPr>
        <p:spPr>
          <a:xfrm>
            <a:off x="2323038" y="2126452"/>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Enabling environment</a:t>
            </a:r>
          </a:p>
        </p:txBody>
      </p:sp>
      <p:sp>
        <p:nvSpPr>
          <p:cNvPr id="14" name="Rectangle 13">
            <a:extLst>
              <a:ext uri="{FF2B5EF4-FFF2-40B4-BE49-F238E27FC236}">
                <a16:creationId xmlns:a16="http://schemas.microsoft.com/office/drawing/2014/main" id="{80BBB3B6-9118-3572-5262-7312683E1697}"/>
              </a:ext>
            </a:extLst>
          </p:cNvPr>
          <p:cNvSpPr/>
          <p:nvPr/>
        </p:nvSpPr>
        <p:spPr>
          <a:xfrm>
            <a:off x="800046" y="3508502"/>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Alternatives</a:t>
            </a:r>
          </a:p>
        </p:txBody>
      </p:sp>
      <p:sp>
        <p:nvSpPr>
          <p:cNvPr id="19" name="Rectangle 18">
            <a:extLst>
              <a:ext uri="{FF2B5EF4-FFF2-40B4-BE49-F238E27FC236}">
                <a16:creationId xmlns:a16="http://schemas.microsoft.com/office/drawing/2014/main" id="{55EE2D18-BE0A-F410-3396-9700ADE82A62}"/>
              </a:ext>
            </a:extLst>
          </p:cNvPr>
          <p:cNvSpPr/>
          <p:nvPr/>
        </p:nvSpPr>
        <p:spPr>
          <a:xfrm>
            <a:off x="3746186" y="3848371"/>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Externalities</a:t>
            </a:r>
          </a:p>
        </p:txBody>
      </p:sp>
      <p:sp>
        <p:nvSpPr>
          <p:cNvPr id="22" name="Rectangle 21">
            <a:extLst>
              <a:ext uri="{FF2B5EF4-FFF2-40B4-BE49-F238E27FC236}">
                <a16:creationId xmlns:a16="http://schemas.microsoft.com/office/drawing/2014/main" id="{54ADE098-3B17-B650-D489-3602C42299A6}"/>
              </a:ext>
            </a:extLst>
          </p:cNvPr>
          <p:cNvSpPr/>
          <p:nvPr/>
        </p:nvSpPr>
        <p:spPr>
          <a:xfrm>
            <a:off x="595166" y="6446945"/>
            <a:ext cx="11691938" cy="383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Sources: ‘Changing the Game’ by Lucas Simons &amp; Andre Nijhof (2020) &amp; the </a:t>
            </a:r>
            <a:r>
              <a:rPr lang="en-US" sz="1200" i="1" err="1">
                <a:solidFill>
                  <a:schemeClr val="tx1"/>
                </a:solidFill>
              </a:rPr>
              <a:t>TransMission</a:t>
            </a:r>
            <a:r>
              <a:rPr lang="en-US" sz="1200" i="1">
                <a:solidFill>
                  <a:schemeClr val="tx1"/>
                </a:solidFill>
              </a:rPr>
              <a:t> framework by NewForesight, </a:t>
            </a:r>
            <a:r>
              <a:rPr lang="en-US" sz="1200" i="1" err="1">
                <a:solidFill>
                  <a:schemeClr val="tx1"/>
                </a:solidFill>
              </a:rPr>
              <a:t>Nyenrode</a:t>
            </a:r>
            <a:r>
              <a:rPr lang="en-US" sz="1200" i="1">
                <a:solidFill>
                  <a:schemeClr val="tx1"/>
                </a:solidFill>
              </a:rPr>
              <a:t> &amp; Copernicus Institute (2023)</a:t>
            </a:r>
          </a:p>
        </p:txBody>
      </p:sp>
    </p:spTree>
    <p:extLst>
      <p:ext uri="{BB962C8B-B14F-4D97-AF65-F5344CB8AC3E}">
        <p14:creationId xmlns:p14="http://schemas.microsoft.com/office/powerpoint/2010/main" val="20258797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3. How to identify the root causes of a systemic issue?</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grpSp>
        <p:nvGrpSpPr>
          <p:cNvPr id="14" name="Group 13">
            <a:extLst>
              <a:ext uri="{FF2B5EF4-FFF2-40B4-BE49-F238E27FC236}">
                <a16:creationId xmlns:a16="http://schemas.microsoft.com/office/drawing/2014/main" id="{EC4237F6-1ACE-9332-65DC-CC187710CBD0}"/>
              </a:ext>
            </a:extLst>
          </p:cNvPr>
          <p:cNvGrpSpPr/>
          <p:nvPr/>
        </p:nvGrpSpPr>
        <p:grpSpPr>
          <a:xfrm>
            <a:off x="3866509" y="2019732"/>
            <a:ext cx="4588559" cy="4645240"/>
            <a:chOff x="773257" y="1534360"/>
            <a:chExt cx="4588559" cy="4645240"/>
          </a:xfrm>
        </p:grpSpPr>
        <p:sp>
          <p:nvSpPr>
            <p:cNvPr id="19" name="Diamond 18">
              <a:extLst>
                <a:ext uri="{FF2B5EF4-FFF2-40B4-BE49-F238E27FC236}">
                  <a16:creationId xmlns:a16="http://schemas.microsoft.com/office/drawing/2014/main" id="{FB8A0C42-A201-E02A-C28E-DA80968DAC7C}"/>
                </a:ext>
              </a:extLst>
            </p:cNvPr>
            <p:cNvSpPr/>
            <p:nvPr/>
          </p:nvSpPr>
          <p:spPr>
            <a:xfrm>
              <a:off x="1959448" y="2642781"/>
              <a:ext cx="2248009" cy="2448513"/>
            </a:xfrm>
            <a:prstGeom prst="diamond">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Outcomes</a:t>
              </a:r>
            </a:p>
          </p:txBody>
        </p:sp>
        <p:sp>
          <p:nvSpPr>
            <p:cNvPr id="15" name="Arrow: Circular 14">
              <a:extLst>
                <a:ext uri="{FF2B5EF4-FFF2-40B4-BE49-F238E27FC236}">
                  <a16:creationId xmlns:a16="http://schemas.microsoft.com/office/drawing/2014/main" id="{54016651-8580-11D9-CA85-E55F221ED463}"/>
                </a:ext>
              </a:extLst>
            </p:cNvPr>
            <p:cNvSpPr/>
            <p:nvPr/>
          </p:nvSpPr>
          <p:spPr>
            <a:xfrm rot="20268673">
              <a:off x="773257" y="2948370"/>
              <a:ext cx="1800000" cy="1800000"/>
            </a:xfrm>
            <a:prstGeom prst="circularArrow">
              <a:avLst>
                <a:gd name="adj1" fmla="val 12198"/>
                <a:gd name="adj2" fmla="val 1142319"/>
                <a:gd name="adj3" fmla="val 20680099"/>
                <a:gd name="adj4" fmla="val 3308809"/>
                <a:gd name="adj5" fmla="val 125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Arrow: Circular 15">
              <a:extLst>
                <a:ext uri="{FF2B5EF4-FFF2-40B4-BE49-F238E27FC236}">
                  <a16:creationId xmlns:a16="http://schemas.microsoft.com/office/drawing/2014/main" id="{12B0C176-19A6-C6F4-4287-B870D12AEE8D}"/>
                </a:ext>
              </a:extLst>
            </p:cNvPr>
            <p:cNvSpPr/>
            <p:nvPr/>
          </p:nvSpPr>
          <p:spPr>
            <a:xfrm rot="14869921">
              <a:off x="2183453" y="4379600"/>
              <a:ext cx="1800000" cy="1800000"/>
            </a:xfrm>
            <a:prstGeom prst="circularArrow">
              <a:avLst>
                <a:gd name="adj1" fmla="val 12198"/>
                <a:gd name="adj2" fmla="val 1142319"/>
                <a:gd name="adj3" fmla="val 20680099"/>
                <a:gd name="adj4" fmla="val 3308809"/>
                <a:gd name="adj5" fmla="val 125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Arrow: Circular 16">
              <a:extLst>
                <a:ext uri="{FF2B5EF4-FFF2-40B4-BE49-F238E27FC236}">
                  <a16:creationId xmlns:a16="http://schemas.microsoft.com/office/drawing/2014/main" id="{544D8853-FF51-CBB5-9235-78E4FB8B70B4}"/>
                </a:ext>
              </a:extLst>
            </p:cNvPr>
            <p:cNvSpPr/>
            <p:nvPr/>
          </p:nvSpPr>
          <p:spPr>
            <a:xfrm rot="4185214">
              <a:off x="2225663" y="1534360"/>
              <a:ext cx="1800000" cy="1800000"/>
            </a:xfrm>
            <a:prstGeom prst="circularArrow">
              <a:avLst>
                <a:gd name="adj1" fmla="val 12198"/>
                <a:gd name="adj2" fmla="val 1142319"/>
                <a:gd name="adj3" fmla="val 20680099"/>
                <a:gd name="adj4" fmla="val 3308809"/>
                <a:gd name="adj5" fmla="val 125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Arrow: Circular 17">
              <a:extLst>
                <a:ext uri="{FF2B5EF4-FFF2-40B4-BE49-F238E27FC236}">
                  <a16:creationId xmlns:a16="http://schemas.microsoft.com/office/drawing/2014/main" id="{C9A95D62-A253-35A8-77F8-AD3229116635}"/>
                </a:ext>
              </a:extLst>
            </p:cNvPr>
            <p:cNvSpPr/>
            <p:nvPr/>
          </p:nvSpPr>
          <p:spPr>
            <a:xfrm rot="9715989">
              <a:off x="3561816" y="3047261"/>
              <a:ext cx="1800000" cy="1800000"/>
            </a:xfrm>
            <a:prstGeom prst="circularArrow">
              <a:avLst>
                <a:gd name="adj1" fmla="val 12198"/>
                <a:gd name="adj2" fmla="val 1142319"/>
                <a:gd name="adj3" fmla="val 20680099"/>
                <a:gd name="adj4" fmla="val 3308809"/>
                <a:gd name="adj5" fmla="val 125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Rectangle 1">
              <a:extLst>
                <a:ext uri="{FF2B5EF4-FFF2-40B4-BE49-F238E27FC236}">
                  <a16:creationId xmlns:a16="http://schemas.microsoft.com/office/drawing/2014/main" id="{B5A36853-2075-7940-3B47-FBA739C2F83E}"/>
                </a:ext>
              </a:extLst>
            </p:cNvPr>
            <p:cNvSpPr/>
            <p:nvPr/>
          </p:nvSpPr>
          <p:spPr>
            <a:xfrm>
              <a:off x="2449271" y="5157494"/>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Rewards</a:t>
              </a:r>
            </a:p>
          </p:txBody>
        </p:sp>
        <p:sp>
          <p:nvSpPr>
            <p:cNvPr id="3" name="Rectangle 2">
              <a:extLst>
                <a:ext uri="{FF2B5EF4-FFF2-40B4-BE49-F238E27FC236}">
                  <a16:creationId xmlns:a16="http://schemas.microsoft.com/office/drawing/2014/main" id="{8AD84217-020D-433C-A119-803C0468192A}"/>
                </a:ext>
              </a:extLst>
            </p:cNvPr>
            <p:cNvSpPr/>
            <p:nvPr/>
          </p:nvSpPr>
          <p:spPr>
            <a:xfrm>
              <a:off x="2491482" y="2126451"/>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Enabling environment</a:t>
              </a:r>
            </a:p>
          </p:txBody>
        </p:sp>
        <p:sp>
          <p:nvSpPr>
            <p:cNvPr id="4" name="Rectangle 3">
              <a:extLst>
                <a:ext uri="{FF2B5EF4-FFF2-40B4-BE49-F238E27FC236}">
                  <a16:creationId xmlns:a16="http://schemas.microsoft.com/office/drawing/2014/main" id="{8A57EAD6-19BA-F200-222A-09CB92A6EB55}"/>
                </a:ext>
              </a:extLst>
            </p:cNvPr>
            <p:cNvSpPr/>
            <p:nvPr/>
          </p:nvSpPr>
          <p:spPr>
            <a:xfrm>
              <a:off x="968490" y="3508501"/>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Alternatives</a:t>
              </a:r>
            </a:p>
          </p:txBody>
        </p:sp>
        <p:sp>
          <p:nvSpPr>
            <p:cNvPr id="9" name="Rectangle 8">
              <a:extLst>
                <a:ext uri="{FF2B5EF4-FFF2-40B4-BE49-F238E27FC236}">
                  <a16:creationId xmlns:a16="http://schemas.microsoft.com/office/drawing/2014/main" id="{8F6949D6-A7F4-DC49-389F-A7774FB323D2}"/>
                </a:ext>
              </a:extLst>
            </p:cNvPr>
            <p:cNvSpPr/>
            <p:nvPr/>
          </p:nvSpPr>
          <p:spPr>
            <a:xfrm>
              <a:off x="3914630" y="3848370"/>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Externalities</a:t>
              </a:r>
            </a:p>
          </p:txBody>
        </p:sp>
      </p:grpSp>
      <p:sp>
        <p:nvSpPr>
          <p:cNvPr id="20" name="Rectangle 19">
            <a:extLst>
              <a:ext uri="{FF2B5EF4-FFF2-40B4-BE49-F238E27FC236}">
                <a16:creationId xmlns:a16="http://schemas.microsoft.com/office/drawing/2014/main" id="{BDE962A2-BB72-49F7-65C2-AC672DB89E02}"/>
              </a:ext>
            </a:extLst>
          </p:cNvPr>
          <p:cNvSpPr/>
          <p:nvPr/>
        </p:nvSpPr>
        <p:spPr>
          <a:xfrm>
            <a:off x="702116" y="1461077"/>
            <a:ext cx="10894718" cy="620892"/>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902353">
              <a:defRPr/>
            </a:pPr>
            <a:r>
              <a:rPr lang="en-GB" sz="1400">
                <a:solidFill>
                  <a:schemeClr val="tx1"/>
                </a:solidFill>
                <a:latin typeface="Segoe UI Light" panose="020B0502040204020203" pitchFamily="34" charset="0"/>
                <a:cs typeface="Segoe UI Light" panose="020B0502040204020203" pitchFamily="34" charset="0"/>
              </a:rPr>
              <a:t>The following template can be used to fill out the 4 loops for the system in which you want to address a water challenge. Start with the first loop, rewards, and end with the 4</a:t>
            </a:r>
            <a:r>
              <a:rPr lang="en-GB" sz="1400" baseline="30000">
                <a:solidFill>
                  <a:schemeClr val="tx1"/>
                </a:solidFill>
                <a:latin typeface="Segoe UI Light" panose="020B0502040204020203" pitchFamily="34" charset="0"/>
                <a:cs typeface="Segoe UI Light" panose="020B0502040204020203" pitchFamily="34" charset="0"/>
              </a:rPr>
              <a:t>th</a:t>
            </a:r>
            <a:r>
              <a:rPr lang="en-GB" sz="1400">
                <a:solidFill>
                  <a:schemeClr val="tx1"/>
                </a:solidFill>
                <a:latin typeface="Segoe UI Light" panose="020B0502040204020203" pitchFamily="34" charset="0"/>
                <a:cs typeface="Segoe UI Light" panose="020B0502040204020203" pitchFamily="34" charset="0"/>
              </a:rPr>
              <a:t> loop, the alternatives. You may fill this template out by yourself or with others.</a:t>
            </a:r>
          </a:p>
        </p:txBody>
      </p:sp>
      <p:sp>
        <p:nvSpPr>
          <p:cNvPr id="21" name="Rectangle: Rounded Corners 20">
            <a:extLst>
              <a:ext uri="{FF2B5EF4-FFF2-40B4-BE49-F238E27FC236}">
                <a16:creationId xmlns:a16="http://schemas.microsoft.com/office/drawing/2014/main" id="{8D8D5FEC-B288-2C02-FD05-94652816F42E}"/>
              </a:ext>
            </a:extLst>
          </p:cNvPr>
          <p:cNvSpPr/>
          <p:nvPr/>
        </p:nvSpPr>
        <p:spPr>
          <a:xfrm>
            <a:off x="7188313" y="2037801"/>
            <a:ext cx="4601202" cy="1564114"/>
          </a:xfrm>
          <a:prstGeom prst="roundRect">
            <a:avLst>
              <a:gd name="adj" fmla="val 13704"/>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00000"/>
              </a:lnSpc>
              <a:spcBef>
                <a:spcPts val="0"/>
              </a:spcBef>
              <a:spcAft>
                <a:spcPts val="0"/>
              </a:spcAft>
              <a:buClrTx/>
              <a:buSzTx/>
              <a:tabLst/>
              <a:defRPr/>
            </a:pPr>
            <a:r>
              <a:rPr kumimoji="0" lang="en-US" sz="1200" i="0" u="none" strike="noStrike" kern="1200" cap="none" spc="0" normalizeH="0" baseline="0" noProof="0">
                <a:ln>
                  <a:noFill/>
                </a:ln>
                <a:solidFill>
                  <a:srgbClr val="003857">
                    <a:lumMod val="50000"/>
                  </a:srgbClr>
                </a:solidFill>
                <a:effectLst/>
                <a:uLnTx/>
                <a:uFillTx/>
                <a:ea typeface="+mn-ea"/>
                <a:cs typeface="+mn-cs"/>
              </a:rPr>
              <a:t>2. What </a:t>
            </a:r>
            <a:r>
              <a:rPr kumimoji="0" lang="en-US" sz="1200" i="0" u="none" strike="noStrike" kern="1200" cap="none" spc="0" normalizeH="0" baseline="0" noProof="0">
                <a:ln>
                  <a:noFill/>
                </a:ln>
                <a:solidFill>
                  <a:prstClr val="black"/>
                </a:solidFill>
                <a:effectLst/>
                <a:uLnTx/>
                <a:uFillTx/>
                <a:ea typeface="+mn-ea"/>
                <a:cs typeface="+mn-cs"/>
              </a:rPr>
              <a:t>policies, infrastructure, education, financial (tax) incentives, standards are (not) in place as a result of governments’ values? </a:t>
            </a:r>
          </a:p>
        </p:txBody>
      </p:sp>
      <p:sp>
        <p:nvSpPr>
          <p:cNvPr id="22" name="Rectangle: Rounded Corners 21">
            <a:extLst>
              <a:ext uri="{FF2B5EF4-FFF2-40B4-BE49-F238E27FC236}">
                <a16:creationId xmlns:a16="http://schemas.microsoft.com/office/drawing/2014/main" id="{50F05E0C-2F9D-7226-51A8-376860003C0D}"/>
              </a:ext>
            </a:extLst>
          </p:cNvPr>
          <p:cNvSpPr/>
          <p:nvPr/>
        </p:nvSpPr>
        <p:spPr>
          <a:xfrm>
            <a:off x="586076" y="5185676"/>
            <a:ext cx="4585692" cy="1564114"/>
          </a:xfrm>
          <a:prstGeom prst="roundRect">
            <a:avLst>
              <a:gd name="adj" fmla="val 13704"/>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00000"/>
              </a:lnSpc>
              <a:spcBef>
                <a:spcPts val="0"/>
              </a:spcBef>
              <a:spcAft>
                <a:spcPts val="0"/>
              </a:spcAft>
              <a:buClrTx/>
              <a:buSzTx/>
              <a:tabLst/>
              <a:defRPr/>
            </a:pPr>
            <a:r>
              <a:rPr lang="en-US" sz="1200">
                <a:solidFill>
                  <a:prstClr val="black"/>
                </a:solidFill>
              </a:rPr>
              <a:t>1. What are the main incentives driving stakeholders’ behavior, and what underlying values cause for these incentives? </a:t>
            </a:r>
          </a:p>
        </p:txBody>
      </p:sp>
      <p:sp>
        <p:nvSpPr>
          <p:cNvPr id="23" name="Rectangle: Rounded Corners 22">
            <a:extLst>
              <a:ext uri="{FF2B5EF4-FFF2-40B4-BE49-F238E27FC236}">
                <a16:creationId xmlns:a16="http://schemas.microsoft.com/office/drawing/2014/main" id="{8E8C833B-42B2-1392-B61B-05C314F4C97A}"/>
              </a:ext>
            </a:extLst>
          </p:cNvPr>
          <p:cNvSpPr/>
          <p:nvPr/>
        </p:nvSpPr>
        <p:spPr>
          <a:xfrm>
            <a:off x="595166" y="2037801"/>
            <a:ext cx="3226287" cy="2843992"/>
          </a:xfrm>
          <a:prstGeom prst="roundRect">
            <a:avLst>
              <a:gd name="adj" fmla="val 13704"/>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00000"/>
              </a:lnSpc>
              <a:spcBef>
                <a:spcPts val="0"/>
              </a:spcBef>
              <a:spcAft>
                <a:spcPts val="0"/>
              </a:spcAft>
              <a:buClrTx/>
              <a:buSzTx/>
              <a:tabLst/>
              <a:defRPr/>
            </a:pPr>
            <a:r>
              <a:rPr lang="en-US" sz="1200">
                <a:solidFill>
                  <a:prstClr val="black"/>
                </a:solidFill>
              </a:rPr>
              <a:t>4. Are there alternatives available to the unsustainable status quo and how attractive are they?</a:t>
            </a:r>
          </a:p>
        </p:txBody>
      </p:sp>
      <p:sp>
        <p:nvSpPr>
          <p:cNvPr id="24" name="Rectangle: Rounded Corners 23">
            <a:extLst>
              <a:ext uri="{FF2B5EF4-FFF2-40B4-BE49-F238E27FC236}">
                <a16:creationId xmlns:a16="http://schemas.microsoft.com/office/drawing/2014/main" id="{0255CE19-1B97-9FD1-52E1-012B286C4E9D}"/>
              </a:ext>
            </a:extLst>
          </p:cNvPr>
          <p:cNvSpPr/>
          <p:nvPr/>
        </p:nvSpPr>
        <p:spPr>
          <a:xfrm>
            <a:off x="8581017" y="3905798"/>
            <a:ext cx="3275837" cy="2843992"/>
          </a:xfrm>
          <a:prstGeom prst="roundRect">
            <a:avLst>
              <a:gd name="adj" fmla="val 13704"/>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l" defTabSz="914400" rtl="0" eaLnBrk="1" fontAlgn="auto" latinLnBrk="0" hangingPunct="1">
              <a:lnSpc>
                <a:spcPct val="100000"/>
              </a:lnSpc>
              <a:spcBef>
                <a:spcPts val="0"/>
              </a:spcBef>
              <a:spcAft>
                <a:spcPts val="0"/>
              </a:spcAft>
              <a:buClrTx/>
              <a:buSzTx/>
              <a:tabLst/>
              <a:defRPr/>
            </a:pPr>
            <a:r>
              <a:rPr lang="en-US" sz="1200">
                <a:solidFill>
                  <a:prstClr val="black"/>
                </a:solidFill>
              </a:rPr>
              <a:t>3. Are the negative consequences felt by the ones who are causing them (in the short-term)? </a:t>
            </a:r>
          </a:p>
        </p:txBody>
      </p:sp>
    </p:spTree>
    <p:extLst>
      <p:ext uri="{BB962C8B-B14F-4D97-AF65-F5344CB8AC3E}">
        <p14:creationId xmlns:p14="http://schemas.microsoft.com/office/powerpoint/2010/main" val="16627412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712720"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4. What are the interconnected elements of the system in which I operate?</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9" name="Rectangle 8">
            <a:extLst>
              <a:ext uri="{FF2B5EF4-FFF2-40B4-BE49-F238E27FC236}">
                <a16:creationId xmlns:a16="http://schemas.microsoft.com/office/drawing/2014/main" id="{4B33DF91-5856-FC52-E476-605064E5B073}"/>
              </a:ext>
            </a:extLst>
          </p:cNvPr>
          <p:cNvSpPr/>
          <p:nvPr/>
        </p:nvSpPr>
        <p:spPr>
          <a:xfrm>
            <a:off x="702116" y="1461076"/>
            <a:ext cx="10894718" cy="515629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a:lnSpc>
                <a:spcPct val="90000"/>
              </a:lnSpc>
              <a:spcBef>
                <a:spcPts val="1000"/>
              </a:spcBef>
              <a:buClr>
                <a:srgbClr val="009FDE"/>
              </a:buClr>
              <a:defRPr/>
            </a:pPr>
            <a:r>
              <a:rPr kumimoji="0" lang="en-US" sz="1600" b="0" i="0" u="none" strike="noStrike" kern="1200" cap="none" spc="0" normalizeH="0" baseline="0" noProof="0">
                <a:ln>
                  <a:noFill/>
                </a:ln>
                <a:solidFill>
                  <a:srgbClr val="000000"/>
                </a:solidFill>
                <a:effectLst/>
                <a:uLnTx/>
                <a:uFillTx/>
                <a:latin typeface="Segoe UI Light"/>
                <a:ea typeface="+mn-ea"/>
                <a:cs typeface="+mn-cs"/>
              </a:rPr>
              <a:t>The final exercise is meant to make you think about the </a:t>
            </a:r>
            <a:r>
              <a:rPr kumimoji="0" lang="en-GB"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the </a:t>
            </a:r>
            <a:r>
              <a:rPr kumimoji="0" lang="en-GB" sz="1600" b="1"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interacting elements and dynamics of a system.</a:t>
            </a:r>
            <a:r>
              <a:rPr kumimoji="0" lang="en-GB"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 This can be done through a ‘Rich picture’ exercise, a drawing of the system in all its richness. It is important to consider that such a picture does not need to structure the situation (as in a logic model). </a:t>
            </a:r>
            <a:r>
              <a:rPr lang="en-US" sz="1600" b="0" i="0">
                <a:solidFill>
                  <a:srgbClr val="000000"/>
                </a:solidFill>
                <a:effectLst/>
              </a:rPr>
              <a:t>The whole point is to reflect as much going on as possible without privileging, predetermining, or presuming a particular point of view. </a:t>
            </a:r>
            <a:endParaRPr kumimoji="0" lang="en-GB" sz="160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a:p>
            <a:pPr marL="0" marR="0" lvl="0" indent="0" algn="just" defTabSz="914400" rtl="0" eaLnBrk="1" fontAlgn="auto" latinLnBrk="0" hangingPunct="1">
              <a:lnSpc>
                <a:spcPct val="90000"/>
              </a:lnSpc>
              <a:spcBef>
                <a:spcPts val="1000"/>
              </a:spcBef>
              <a:spcAft>
                <a:spcPts val="0"/>
              </a:spcAft>
              <a:buClr>
                <a:srgbClr val="009FDE"/>
              </a:buClr>
              <a:buSzTx/>
              <a:buFont typeface="System Font Regular"/>
              <a:buNone/>
              <a:tabLst/>
              <a:defRPr/>
            </a:pPr>
            <a:r>
              <a:rPr lang="en-GB" sz="1600">
                <a:solidFill>
                  <a:srgbClr val="000000"/>
                </a:solidFill>
                <a:latin typeface="Segoe UI Light" panose="020B0502040204020203" pitchFamily="34" charset="0"/>
                <a:cs typeface="Segoe UI Light" panose="020B0502040204020203" pitchFamily="34" charset="0"/>
              </a:rPr>
              <a:t>To draw your Rich picture, take the following steps:</a:t>
            </a:r>
            <a:endParaRPr kumimoji="0" lang="en-GB" sz="160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a:p>
            <a:pPr marL="228600" marR="0" lvl="0" indent="-228600" algn="just" defTabSz="914400" rtl="0" eaLnBrk="1" fontAlgn="auto" latinLnBrk="0" hangingPunct="1">
              <a:lnSpc>
                <a:spcPct val="90000"/>
              </a:lnSpc>
              <a:spcBef>
                <a:spcPts val="1000"/>
              </a:spcBef>
              <a:spcAft>
                <a:spcPts val="0"/>
              </a:spcAft>
              <a:buClr>
                <a:srgbClr val="009FDE"/>
              </a:buClr>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Light"/>
                <a:ea typeface="+mn-ea"/>
                <a:cs typeface="+mn-cs"/>
              </a:rPr>
              <a:t>Start with the most important </a:t>
            </a:r>
            <a:r>
              <a:rPr kumimoji="0" lang="en-US" sz="1600" b="1" i="0" u="none" strike="noStrike" kern="1200" cap="none" spc="0" normalizeH="0" baseline="0" noProof="0">
                <a:ln>
                  <a:noFill/>
                </a:ln>
                <a:solidFill>
                  <a:srgbClr val="000000"/>
                </a:solidFill>
                <a:effectLst/>
                <a:uLnTx/>
                <a:uFillTx/>
                <a:latin typeface="Segoe UI Light"/>
                <a:ea typeface="+mn-ea"/>
                <a:cs typeface="+mn-cs"/>
              </a:rPr>
              <a:t>physical features </a:t>
            </a:r>
            <a:r>
              <a:rPr kumimoji="0" lang="en-US" sz="1600" b="0" i="0" u="none" strike="noStrike" kern="1200" cap="none" spc="0" normalizeH="0" baseline="0" noProof="0">
                <a:ln>
                  <a:noFill/>
                </a:ln>
                <a:solidFill>
                  <a:srgbClr val="000000"/>
                </a:solidFill>
                <a:effectLst/>
                <a:uLnTx/>
                <a:uFillTx/>
                <a:latin typeface="Segoe UI Light"/>
                <a:ea typeface="+mn-ea"/>
                <a:cs typeface="+mn-cs"/>
              </a:rPr>
              <a:t>and the </a:t>
            </a:r>
            <a:r>
              <a:rPr kumimoji="0" lang="en-US" sz="1600" b="1" i="0" u="none" strike="noStrike" kern="1200" cap="none" spc="0" normalizeH="0" baseline="0" noProof="0">
                <a:ln>
                  <a:noFill/>
                </a:ln>
                <a:solidFill>
                  <a:srgbClr val="000000"/>
                </a:solidFill>
                <a:effectLst/>
                <a:uLnTx/>
                <a:uFillTx/>
                <a:latin typeface="Segoe UI Light"/>
                <a:ea typeface="+mn-ea"/>
                <a:cs typeface="+mn-cs"/>
              </a:rPr>
              <a:t>main stakeholders</a:t>
            </a:r>
            <a:r>
              <a:rPr kumimoji="0" lang="en-US" sz="1600" b="0" i="0" u="none" strike="noStrike" kern="1200" cap="none" spc="0" normalizeH="0" baseline="0" noProof="0">
                <a:ln>
                  <a:noFill/>
                </a:ln>
                <a:solidFill>
                  <a:srgbClr val="000000"/>
                </a:solidFill>
                <a:effectLst/>
                <a:uLnTx/>
                <a:uFillTx/>
                <a:latin typeface="Segoe UI Light"/>
                <a:ea typeface="+mn-ea"/>
                <a:cs typeface="+mn-cs"/>
              </a:rPr>
              <a:t> of the situation. For example, think about critical people, organizations and structures in the landscape. For stakeholders, think beyond those directly involved in the situation. For instance, which companies, governmental organizations, financial or knowledge institutions, schools, NGOs and other organizations are relevant in this situation?</a:t>
            </a:r>
          </a:p>
          <a:p>
            <a:pPr marL="228600" marR="0" lvl="0" indent="-228600" algn="just" defTabSz="914400" rtl="0" eaLnBrk="1" fontAlgn="auto" latinLnBrk="0" hangingPunct="1">
              <a:lnSpc>
                <a:spcPct val="90000"/>
              </a:lnSpc>
              <a:spcBef>
                <a:spcPts val="1000"/>
              </a:spcBef>
              <a:spcAft>
                <a:spcPts val="0"/>
              </a:spcAft>
              <a:buClr>
                <a:srgbClr val="009FDE"/>
              </a:buClr>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Light"/>
                <a:ea typeface="+mn-ea"/>
                <a:cs typeface="+mn-cs"/>
              </a:rPr>
              <a:t>Next, draw the </a:t>
            </a:r>
            <a:r>
              <a:rPr kumimoji="0" lang="en-US" sz="1600" b="1" i="0" u="none" strike="noStrike" kern="1200" cap="none" spc="0" normalizeH="0" baseline="0" noProof="0">
                <a:ln>
                  <a:noFill/>
                </a:ln>
                <a:solidFill>
                  <a:srgbClr val="000000"/>
                </a:solidFill>
                <a:effectLst/>
                <a:uLnTx/>
                <a:uFillTx/>
                <a:latin typeface="Segoe UI Light"/>
                <a:ea typeface="+mn-ea"/>
                <a:cs typeface="+mn-cs"/>
              </a:rPr>
              <a:t>processes</a:t>
            </a:r>
            <a:r>
              <a:rPr kumimoji="0" lang="en-US" sz="1600" b="0" i="0" u="none" strike="noStrike" kern="1200" cap="none" spc="0" normalizeH="0" baseline="0" noProof="0">
                <a:ln>
                  <a:noFill/>
                </a:ln>
                <a:solidFill>
                  <a:srgbClr val="000000"/>
                </a:solidFill>
                <a:effectLst/>
                <a:uLnTx/>
                <a:uFillTx/>
                <a:latin typeface="Segoe UI Light"/>
                <a:ea typeface="+mn-ea"/>
                <a:cs typeface="+mn-cs"/>
              </a:rPr>
              <a:t> in the situation, meaning those things which are in a state of change and the activities going on in the system. Think, for example, about relationships, issues, arguments, causes and effects, and social and cultural matters. Also think about opinions people (or organizations) may have. Finally, think about what efforts other stakeholders are already undertaking in order to change the current situation (i.e. address the water challenge).</a:t>
            </a:r>
          </a:p>
          <a:p>
            <a:pPr marL="228600" marR="0" lvl="0" indent="-228600" algn="just" defTabSz="914400" rtl="0" eaLnBrk="1" fontAlgn="auto" latinLnBrk="0" hangingPunct="1">
              <a:lnSpc>
                <a:spcPct val="90000"/>
              </a:lnSpc>
              <a:spcBef>
                <a:spcPts val="1000"/>
              </a:spcBef>
              <a:spcAft>
                <a:spcPts val="0"/>
              </a:spcAft>
              <a:buClr>
                <a:srgbClr val="009FDE"/>
              </a:buClr>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Segoe UI Light"/>
                <a:ea typeface="+mn-ea"/>
                <a:cs typeface="+mn-cs"/>
              </a:rPr>
              <a:t>Finally, draw the </a:t>
            </a:r>
            <a:r>
              <a:rPr kumimoji="0" lang="en-US" sz="1600" b="1" i="0" u="none" strike="noStrike" kern="1200" cap="none" spc="0" normalizeH="0" baseline="0" noProof="0">
                <a:ln>
                  <a:noFill/>
                </a:ln>
                <a:solidFill>
                  <a:srgbClr val="000000"/>
                </a:solidFill>
                <a:effectLst/>
                <a:uLnTx/>
                <a:uFillTx/>
                <a:latin typeface="Segoe UI Light"/>
                <a:ea typeface="+mn-ea"/>
                <a:cs typeface="+mn-cs"/>
              </a:rPr>
              <a:t>dynamics</a:t>
            </a:r>
            <a:r>
              <a:rPr kumimoji="0" lang="en-US" sz="1600" b="0" i="0" u="none" strike="noStrike" kern="1200" cap="none" spc="0" normalizeH="0" baseline="0" noProof="0">
                <a:ln>
                  <a:noFill/>
                </a:ln>
                <a:solidFill>
                  <a:srgbClr val="000000"/>
                </a:solidFill>
                <a:effectLst/>
                <a:uLnTx/>
                <a:uFillTx/>
                <a:latin typeface="Segoe UI Light"/>
                <a:ea typeface="+mn-ea"/>
                <a:cs typeface="+mn-cs"/>
              </a:rPr>
              <a:t>: How do the different physical features, stakeholders and processes in this situation influence each other?</a:t>
            </a:r>
            <a:endParaRPr lang="en-GB" sz="1600">
              <a:solidFill>
                <a:srgbClr val="000000"/>
              </a:solidFill>
              <a:highlight>
                <a:srgbClr val="FFFF00"/>
              </a:highlight>
              <a:latin typeface="Segoe UI Light"/>
            </a:endParaRPr>
          </a:p>
          <a:p>
            <a:pPr marL="228600" marR="0" lvl="0" indent="-228600" algn="just" defTabSz="914400" rtl="0" eaLnBrk="1" fontAlgn="auto" latinLnBrk="0" hangingPunct="1">
              <a:lnSpc>
                <a:spcPct val="90000"/>
              </a:lnSpc>
              <a:spcBef>
                <a:spcPts val="1000"/>
              </a:spcBef>
              <a:spcAft>
                <a:spcPts val="0"/>
              </a:spcAft>
              <a:buClr>
                <a:srgbClr val="009FDE"/>
              </a:buClr>
              <a:buSzTx/>
              <a:buFont typeface="+mj-lt"/>
              <a:buAutoNum type="arabicPeriod"/>
              <a:tabLst/>
              <a:defRPr/>
            </a:pPr>
            <a:r>
              <a:rPr kumimoji="0" lang="en-GB" sz="1600" i="1" u="sng" strike="noStrike" kern="1200" cap="none" spc="0" normalizeH="0" baseline="0" noProof="0">
                <a:ln>
                  <a:noFill/>
                </a:ln>
                <a:solidFill>
                  <a:srgbClr val="000000"/>
                </a:solidFill>
                <a:effectLst/>
                <a:uLnTx/>
                <a:uFillTx/>
                <a:latin typeface="Segoe UI Light"/>
                <a:ea typeface="+mn-ea"/>
                <a:cs typeface="+mn-cs"/>
              </a:rPr>
              <a:t>Optional:</a:t>
            </a:r>
            <a:r>
              <a:rPr kumimoji="0" lang="en-GB" sz="1600" i="1" strike="noStrike" kern="1200" cap="none" spc="0" normalizeH="0" baseline="0" noProof="0">
                <a:ln>
                  <a:noFill/>
                </a:ln>
                <a:solidFill>
                  <a:srgbClr val="000000"/>
                </a:solidFill>
                <a:effectLst/>
                <a:uLnTx/>
                <a:uFillTx/>
                <a:latin typeface="Segoe UI Light"/>
                <a:ea typeface="+mn-ea"/>
                <a:cs typeface="+mn-cs"/>
              </a:rPr>
              <a:t> </a:t>
            </a:r>
            <a:r>
              <a:rPr kumimoji="0" lang="en-GB" sz="1600" b="0" i="0" u="none" strike="noStrike" kern="1200" cap="none" spc="0" normalizeH="0" baseline="0" noProof="0">
                <a:ln>
                  <a:noFill/>
                </a:ln>
                <a:solidFill>
                  <a:srgbClr val="000000"/>
                </a:solidFill>
                <a:effectLst/>
                <a:uLnTx/>
                <a:uFillTx/>
                <a:latin typeface="Segoe UI Light"/>
                <a:ea typeface="+mn-ea"/>
                <a:cs typeface="+mn-cs"/>
              </a:rPr>
              <a:t>After having drawn your Rich picture for the current situation the system is in, you may find it a valuable exercise to draw another picture of what your desired situation would look like. To do this, repeat steps 1-3, but with the question “What would I want the system to look like in 10, 20 or 50 years?”. Compare this picture to the current situation.</a:t>
            </a:r>
            <a:endParaRPr lang="en-GB" sz="1600">
              <a:solidFill>
                <a:srgbClr val="000000"/>
              </a:solidFill>
              <a:latin typeface="Segoe UI Light"/>
            </a:endParaRPr>
          </a:p>
          <a:p>
            <a:pPr marR="0" lvl="0" algn="just" defTabSz="914400" rtl="0" eaLnBrk="1" fontAlgn="auto" latinLnBrk="0" hangingPunct="1">
              <a:lnSpc>
                <a:spcPct val="90000"/>
              </a:lnSpc>
              <a:spcBef>
                <a:spcPts val="1000"/>
              </a:spcBef>
              <a:spcAft>
                <a:spcPts val="0"/>
              </a:spcAft>
              <a:buClr>
                <a:srgbClr val="009FDE"/>
              </a:buClr>
              <a:buSzTx/>
              <a:tabLst/>
              <a:defRPr/>
            </a:pPr>
            <a:r>
              <a:rPr lang="en-GB" sz="1600">
                <a:solidFill>
                  <a:schemeClr val="tx1"/>
                </a:solidFill>
                <a:latin typeface="Segoe UI Light" panose="020B0502040204020203" pitchFamily="34" charset="0"/>
                <a:cs typeface="Segoe UI Light" panose="020B0502040204020203" pitchFamily="34" charset="0"/>
              </a:rPr>
              <a:t>You may do this exercise by yourself or with other stakeholders inside or outside your organization.</a:t>
            </a:r>
            <a:endParaRPr kumimoji="0" lang="en-US" sz="1600" b="0" i="0" u="none" strike="noStrike" kern="1200" cap="none" spc="0" normalizeH="0" baseline="0" noProof="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669454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B6F35-C464-CB1A-98D8-84BA1D1241EB}"/>
              </a:ext>
            </a:extLst>
          </p:cNvPr>
          <p:cNvSpPr>
            <a:spLocks noGrp="1"/>
          </p:cNvSpPr>
          <p:nvPr>
            <p:ph idx="1"/>
          </p:nvPr>
        </p:nvSpPr>
        <p:spPr>
          <a:xfrm>
            <a:off x="838200" y="1825625"/>
            <a:ext cx="10515600" cy="4451350"/>
          </a:xfrm>
        </p:spPr>
        <p:txBody>
          <a:bodyPr/>
          <a:lstStyle/>
          <a:p>
            <a:pPr marL="0" indent="0">
              <a:buNone/>
            </a:pPr>
            <a:r>
              <a:rPr lang="en-GB" sz="1600"/>
              <a:t>Now that you have undertaken various exercises to gain a deeper understanding of your system, it is important to reflect on the implications of the results of these exercises.</a:t>
            </a:r>
          </a:p>
          <a:p>
            <a:pPr marL="342900" indent="-342900">
              <a:buFont typeface="+mj-lt"/>
              <a:buAutoNum type="arabicPeriod"/>
            </a:pPr>
            <a:r>
              <a:rPr lang="en-GB" sz="1600"/>
              <a:t>The </a:t>
            </a:r>
            <a:r>
              <a:rPr lang="en-GB" sz="1600" b="1"/>
              <a:t>Quick scan </a:t>
            </a:r>
            <a:r>
              <a:rPr lang="en-GB" sz="1600"/>
              <a:t>exercise elucidated which characteristics make a given water challenge particularly systemic in nature. In your approach, try to address those factors that make an issue systemic. For instance, when multiple stakeholders are involved, engage them in the right way. If there are multiple causes, try to address one or a few in particular but consider the effect of your approach on other root causes (remember you cannot ‘solve’ everything at once).</a:t>
            </a:r>
          </a:p>
          <a:p>
            <a:pPr marL="342900" indent="-342900">
              <a:buFont typeface="+mj-lt"/>
              <a:buAutoNum type="arabicPeriod"/>
            </a:pPr>
            <a:r>
              <a:rPr lang="en-GB" sz="1600"/>
              <a:t>The </a:t>
            </a:r>
            <a:r>
              <a:rPr lang="en-GB" sz="1600" b="1"/>
              <a:t>Four loops </a:t>
            </a:r>
            <a:r>
              <a:rPr lang="en-GB" sz="1600"/>
              <a:t>exercise helped to identify and understand the root causes of an issue. In your approach, try to find ways to address these root causes rather than the symptoms of the challenge.</a:t>
            </a:r>
          </a:p>
          <a:p>
            <a:pPr marL="342900" indent="-342900">
              <a:buFont typeface="+mj-lt"/>
              <a:buAutoNum type="arabicPeriod"/>
            </a:pPr>
            <a:r>
              <a:rPr lang="en-GB" sz="1600"/>
              <a:t>The </a:t>
            </a:r>
            <a:r>
              <a:rPr lang="en-GB" sz="1600" b="1"/>
              <a:t>Rich picture </a:t>
            </a:r>
            <a:r>
              <a:rPr lang="en-GB" sz="1600"/>
              <a:t>exercise gives an overview of the different  Consider what is already happening in a system to address a certain water challenge, and how your approach contributes to changing the system. Moreover, take into consideration in your approach what the interacting elements are and how they might change due to your approach.</a:t>
            </a:r>
          </a:p>
          <a:p>
            <a:pPr marL="342900" indent="-342900">
              <a:buFont typeface="+mj-lt"/>
              <a:buAutoNum type="arabicPeriod"/>
            </a:pPr>
            <a:r>
              <a:rPr lang="en-GB" sz="1600"/>
              <a:t>Overall, these exercises help to gain a deeper understanding of the system in which you operate. Having this overview and understanding, you are likely also better able to identify and understand the </a:t>
            </a:r>
            <a:r>
              <a:rPr lang="en-GB" sz="1600" b="1"/>
              <a:t>multiple values </a:t>
            </a:r>
            <a:r>
              <a:rPr lang="en-GB" sz="1600"/>
              <a:t>water may have inherently or to different stakeholders in a system. To recognize and reconcile these values, or shift the current value paradigm, also see the values tools on the VWI website.</a:t>
            </a:r>
          </a:p>
          <a:p>
            <a:pPr marL="0" indent="0">
              <a:buNone/>
            </a:pPr>
            <a:r>
              <a:rPr lang="en-GB" sz="1600"/>
              <a:t>To take a systemic approach to addressing water challenges, and ultimately change the unsustainable outcome of the system in which you are operating, there are several steps you can take. These are described on the next slide. </a:t>
            </a:r>
          </a:p>
        </p:txBody>
      </p:sp>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712720"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5. What are the implications for my approach?</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Tree>
    <p:extLst>
      <p:ext uri="{BB962C8B-B14F-4D97-AF65-F5344CB8AC3E}">
        <p14:creationId xmlns:p14="http://schemas.microsoft.com/office/powerpoint/2010/main" val="5501623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712720"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5. What are the implications for my approach?</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9" name="Rectangle 8">
            <a:extLst>
              <a:ext uri="{FF2B5EF4-FFF2-40B4-BE49-F238E27FC236}">
                <a16:creationId xmlns:a16="http://schemas.microsoft.com/office/drawing/2014/main" id="{132577B1-1237-7009-80EE-4036C2AC473D}"/>
              </a:ext>
            </a:extLst>
          </p:cNvPr>
          <p:cNvSpPr/>
          <p:nvPr/>
        </p:nvSpPr>
        <p:spPr>
          <a:xfrm>
            <a:off x="595166" y="6446945"/>
            <a:ext cx="11691938" cy="383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Source: The </a:t>
            </a:r>
            <a:r>
              <a:rPr lang="en-US" sz="1200" i="1" err="1">
                <a:solidFill>
                  <a:schemeClr val="tx1"/>
                </a:solidFill>
              </a:rPr>
              <a:t>TransMission</a:t>
            </a:r>
            <a:r>
              <a:rPr lang="en-US" sz="1200" i="1">
                <a:solidFill>
                  <a:schemeClr val="tx1"/>
                </a:solidFill>
              </a:rPr>
              <a:t> framework by NewForesight, </a:t>
            </a:r>
            <a:r>
              <a:rPr lang="en-US" sz="1200" i="1" err="1">
                <a:solidFill>
                  <a:schemeClr val="tx1"/>
                </a:solidFill>
              </a:rPr>
              <a:t>Nyenrode</a:t>
            </a:r>
            <a:r>
              <a:rPr lang="en-US" sz="1200" i="1">
                <a:solidFill>
                  <a:schemeClr val="tx1"/>
                </a:solidFill>
              </a:rPr>
              <a:t> &amp; Copernicus Institute (2023)</a:t>
            </a:r>
          </a:p>
        </p:txBody>
      </p:sp>
      <p:sp>
        <p:nvSpPr>
          <p:cNvPr id="12" name="Rectangle 11">
            <a:extLst>
              <a:ext uri="{FF2B5EF4-FFF2-40B4-BE49-F238E27FC236}">
                <a16:creationId xmlns:a16="http://schemas.microsoft.com/office/drawing/2014/main" id="{0FED57CE-15A9-6FBD-B9CE-99B2FFD4C0CA}"/>
              </a:ext>
            </a:extLst>
          </p:cNvPr>
          <p:cNvSpPr/>
          <p:nvPr/>
        </p:nvSpPr>
        <p:spPr>
          <a:xfrm>
            <a:off x="4589916" y="2682693"/>
            <a:ext cx="3608842" cy="335891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l-NL" sz="1600" b="1">
                <a:solidFill>
                  <a:schemeClr val="tx1"/>
                </a:solidFill>
              </a:rPr>
              <a:t>Diagnosis:</a:t>
            </a:r>
            <a:r>
              <a:rPr lang="nl-NL" sz="1600">
                <a:solidFill>
                  <a:schemeClr val="tx1"/>
                </a:solidFill>
              </a:rPr>
              <a:t> Describe the current situation* in the system in terms of economic and political power dynamics, knowledge, resources, and collaboration and coordination.</a:t>
            </a:r>
            <a:endParaRPr lang="nl-NL" sz="1600" b="1">
              <a:solidFill>
                <a:schemeClr val="tx1"/>
              </a:solidFill>
            </a:endParaRPr>
          </a:p>
          <a:p>
            <a:pPr algn="just"/>
            <a:endParaRPr lang="nl-NL" sz="1600" b="1">
              <a:solidFill>
                <a:schemeClr val="tx1"/>
              </a:solidFill>
            </a:endParaRPr>
          </a:p>
          <a:p>
            <a:pPr algn="just"/>
            <a:r>
              <a:rPr lang="nl-NL" sz="1600" b="1">
                <a:solidFill>
                  <a:schemeClr val="tx1"/>
                </a:solidFill>
              </a:rPr>
              <a:t>Strategy:</a:t>
            </a:r>
            <a:r>
              <a:rPr lang="nl-NL" sz="1600">
                <a:solidFill>
                  <a:schemeClr val="tx1"/>
                </a:solidFill>
              </a:rPr>
              <a:t> Determine the right strategy to drive the transition, and the right actions for each stakeholder.</a:t>
            </a:r>
          </a:p>
          <a:p>
            <a:pPr algn="just"/>
            <a:endParaRPr lang="nl-NL" sz="1600">
              <a:solidFill>
                <a:schemeClr val="tx1"/>
              </a:solidFill>
            </a:endParaRPr>
          </a:p>
          <a:p>
            <a:pPr algn="just"/>
            <a:r>
              <a:rPr lang="nl-NL" sz="1400">
                <a:solidFill>
                  <a:schemeClr val="tx1"/>
                </a:solidFill>
              </a:rPr>
              <a:t>*To describe the current situation, you may find the exercises in this tool (Quick scan, Root cause analysis and Rich picture) useful.</a:t>
            </a:r>
          </a:p>
        </p:txBody>
      </p:sp>
      <p:sp>
        <p:nvSpPr>
          <p:cNvPr id="16" name="Rectangle 15">
            <a:extLst>
              <a:ext uri="{FF2B5EF4-FFF2-40B4-BE49-F238E27FC236}">
                <a16:creationId xmlns:a16="http://schemas.microsoft.com/office/drawing/2014/main" id="{1163A501-30EB-3C55-3B6C-9D152CCBC922}"/>
              </a:ext>
            </a:extLst>
          </p:cNvPr>
          <p:cNvSpPr/>
          <p:nvPr/>
        </p:nvSpPr>
        <p:spPr>
          <a:xfrm>
            <a:off x="8295717" y="2682693"/>
            <a:ext cx="3307283" cy="335891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l-NL" sz="1600" b="1">
                <a:solidFill>
                  <a:schemeClr val="tx1"/>
                </a:solidFill>
              </a:rPr>
              <a:t>Implementation:</a:t>
            </a:r>
            <a:r>
              <a:rPr lang="nl-NL" sz="1600">
                <a:solidFill>
                  <a:schemeClr val="tx1"/>
                </a:solidFill>
              </a:rPr>
              <a:t> Execute the defined strategy with the stakeholders involved, mobilize resources and ensure the right conditions are in place.</a:t>
            </a:r>
            <a:endParaRPr lang="nl-NL" sz="1600" b="1">
              <a:solidFill>
                <a:schemeClr val="tx1"/>
              </a:solidFill>
            </a:endParaRPr>
          </a:p>
          <a:p>
            <a:pPr algn="just"/>
            <a:endParaRPr lang="nl-NL" sz="1600" b="1">
              <a:solidFill>
                <a:schemeClr val="tx1"/>
              </a:solidFill>
            </a:endParaRPr>
          </a:p>
          <a:p>
            <a:pPr algn="just"/>
            <a:r>
              <a:rPr lang="nl-NL" sz="1600" b="1">
                <a:solidFill>
                  <a:schemeClr val="tx1"/>
                </a:solidFill>
              </a:rPr>
              <a:t>Evaluation:</a:t>
            </a:r>
            <a:r>
              <a:rPr lang="nl-NL" sz="1600">
                <a:solidFill>
                  <a:schemeClr val="tx1"/>
                </a:solidFill>
              </a:rPr>
              <a:t> Keep track of the progress and learnings, and make improvements where needed.</a:t>
            </a:r>
          </a:p>
        </p:txBody>
      </p:sp>
      <p:sp>
        <p:nvSpPr>
          <p:cNvPr id="19" name="Arrow: Chevron 18">
            <a:extLst>
              <a:ext uri="{FF2B5EF4-FFF2-40B4-BE49-F238E27FC236}">
                <a16:creationId xmlns:a16="http://schemas.microsoft.com/office/drawing/2014/main" id="{8FC4B1EF-8475-433C-DEE6-AFCC9FF5D4C1}"/>
              </a:ext>
            </a:extLst>
          </p:cNvPr>
          <p:cNvSpPr/>
          <p:nvPr/>
        </p:nvSpPr>
        <p:spPr>
          <a:xfrm>
            <a:off x="4589916" y="2273250"/>
            <a:ext cx="3806319" cy="358775"/>
          </a:xfrm>
          <a:prstGeom prst="chevr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a:solidFill>
                  <a:schemeClr val="tx1"/>
                </a:solidFill>
              </a:rPr>
              <a:t>2. Diagnosis and Strategy</a:t>
            </a:r>
          </a:p>
        </p:txBody>
      </p:sp>
      <p:sp>
        <p:nvSpPr>
          <p:cNvPr id="20" name="Arrow: Chevron 19">
            <a:extLst>
              <a:ext uri="{FF2B5EF4-FFF2-40B4-BE49-F238E27FC236}">
                <a16:creationId xmlns:a16="http://schemas.microsoft.com/office/drawing/2014/main" id="{06317882-CF17-6AF0-31BB-9BE4B258A572}"/>
              </a:ext>
            </a:extLst>
          </p:cNvPr>
          <p:cNvSpPr/>
          <p:nvPr/>
        </p:nvSpPr>
        <p:spPr>
          <a:xfrm>
            <a:off x="8295718" y="2273250"/>
            <a:ext cx="3488259" cy="358775"/>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a:solidFill>
                  <a:schemeClr val="tx1"/>
                </a:solidFill>
              </a:rPr>
              <a:t>3. Implementation and Evaluation</a:t>
            </a:r>
          </a:p>
        </p:txBody>
      </p:sp>
      <p:sp>
        <p:nvSpPr>
          <p:cNvPr id="21" name="Rectangle 20">
            <a:extLst>
              <a:ext uri="{FF2B5EF4-FFF2-40B4-BE49-F238E27FC236}">
                <a16:creationId xmlns:a16="http://schemas.microsoft.com/office/drawing/2014/main" id="{9BD62607-1D81-B73C-4214-DDAF90D6CA4D}"/>
              </a:ext>
            </a:extLst>
          </p:cNvPr>
          <p:cNvSpPr/>
          <p:nvPr/>
        </p:nvSpPr>
        <p:spPr>
          <a:xfrm>
            <a:off x="884114" y="2682693"/>
            <a:ext cx="3608842" cy="335891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l-NL" sz="1600" b="1">
                <a:solidFill>
                  <a:schemeClr val="tx1"/>
                </a:solidFill>
              </a:rPr>
              <a:t>Scope: </a:t>
            </a:r>
            <a:r>
              <a:rPr lang="nl-NL" sz="1600">
                <a:solidFill>
                  <a:schemeClr val="tx1"/>
                </a:solidFill>
              </a:rPr>
              <a:t>Set a clear scope for your challenge and approach – in terms of geography, actors and/or sector(s) involved. This is your ‘system’.</a:t>
            </a:r>
          </a:p>
          <a:p>
            <a:pPr algn="just"/>
            <a:endParaRPr lang="nl-NL" sz="1600">
              <a:solidFill>
                <a:schemeClr val="tx1"/>
              </a:solidFill>
            </a:endParaRPr>
          </a:p>
          <a:p>
            <a:pPr algn="just"/>
            <a:r>
              <a:rPr lang="nl-NL" sz="1600" b="1">
                <a:solidFill>
                  <a:schemeClr val="tx1"/>
                </a:solidFill>
              </a:rPr>
              <a:t>Mission:</a:t>
            </a:r>
            <a:r>
              <a:rPr lang="nl-NL" sz="1600">
                <a:solidFill>
                  <a:schemeClr val="tx1"/>
                </a:solidFill>
              </a:rPr>
              <a:t> Define what the (shared) mission* is for your system. What do you envision as the desired system for the future?</a:t>
            </a:r>
          </a:p>
          <a:p>
            <a:pPr algn="just"/>
            <a:endParaRPr lang="nl-NL" sz="1600">
              <a:solidFill>
                <a:schemeClr val="tx1"/>
              </a:solidFill>
            </a:endParaRPr>
          </a:p>
          <a:p>
            <a:pPr algn="just"/>
            <a:r>
              <a:rPr lang="nl-NL" sz="1400">
                <a:solidFill>
                  <a:schemeClr val="tx1"/>
                </a:solidFill>
              </a:rPr>
              <a:t>*To define the mission, you may find the Rich picture exercise (for the desired future situation) in this tool useful.</a:t>
            </a:r>
          </a:p>
        </p:txBody>
      </p:sp>
      <p:sp>
        <p:nvSpPr>
          <p:cNvPr id="24" name="Arrow: Chevron 23">
            <a:extLst>
              <a:ext uri="{FF2B5EF4-FFF2-40B4-BE49-F238E27FC236}">
                <a16:creationId xmlns:a16="http://schemas.microsoft.com/office/drawing/2014/main" id="{D6F27C6C-176A-DF92-69C8-7EA6776E3ECB}"/>
              </a:ext>
            </a:extLst>
          </p:cNvPr>
          <p:cNvSpPr/>
          <p:nvPr/>
        </p:nvSpPr>
        <p:spPr>
          <a:xfrm>
            <a:off x="884114" y="2273250"/>
            <a:ext cx="3806319" cy="358775"/>
          </a:xfrm>
          <a:prstGeom prst="chevr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a:solidFill>
                  <a:schemeClr val="tx1"/>
                </a:solidFill>
              </a:rPr>
              <a:t>1. Scope and Mission</a:t>
            </a:r>
          </a:p>
        </p:txBody>
      </p:sp>
      <p:sp>
        <p:nvSpPr>
          <p:cNvPr id="25" name="Rectangle 24">
            <a:extLst>
              <a:ext uri="{FF2B5EF4-FFF2-40B4-BE49-F238E27FC236}">
                <a16:creationId xmlns:a16="http://schemas.microsoft.com/office/drawing/2014/main" id="{7061EBC3-35BC-22F0-E740-DE2404E8C721}"/>
              </a:ext>
            </a:extLst>
          </p:cNvPr>
          <p:cNvSpPr/>
          <p:nvPr/>
        </p:nvSpPr>
        <p:spPr>
          <a:xfrm>
            <a:off x="702116" y="1461077"/>
            <a:ext cx="10894718" cy="351492"/>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a:lnSpc>
                <a:spcPct val="90000"/>
              </a:lnSpc>
              <a:spcBef>
                <a:spcPts val="1000"/>
              </a:spcBef>
              <a:buClr>
                <a:srgbClr val="009FDE"/>
              </a:buClr>
              <a:defRPr/>
            </a:pPr>
            <a:r>
              <a:rPr kumimoji="0" lang="en-GB" sz="1600" b="0" i="0" u="none" strike="noStrike" kern="1200" cap="none" spc="0" normalizeH="0" baseline="0" noProof="0">
                <a:ln>
                  <a:noFill/>
                </a:ln>
                <a:solidFill>
                  <a:srgbClr val="000000"/>
                </a:solidFill>
                <a:effectLst/>
                <a:uLnTx/>
                <a:uFillTx/>
                <a:latin typeface="Segoe UI Light"/>
                <a:ea typeface="+mn-ea"/>
                <a:cs typeface="+mn-cs"/>
              </a:rPr>
              <a:t>In any systemic transition, a number of steps should be taken to steer the process. These steps are described on a high-level below.</a:t>
            </a:r>
            <a:endParaRPr kumimoji="0" lang="en-US" sz="1600" b="0" i="0" u="none" strike="noStrike" kern="1200" cap="none" spc="0" normalizeH="0" baseline="0" noProof="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16150235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B6F35-C464-CB1A-98D8-84BA1D1241EB}"/>
              </a:ext>
            </a:extLst>
          </p:cNvPr>
          <p:cNvSpPr>
            <a:spLocks noGrp="1"/>
          </p:cNvSpPr>
          <p:nvPr>
            <p:ph idx="1"/>
          </p:nvPr>
        </p:nvSpPr>
        <p:spPr>
          <a:xfrm>
            <a:off x="838199" y="2019624"/>
            <a:ext cx="6048375" cy="4157338"/>
          </a:xfrm>
        </p:spPr>
        <p:txBody>
          <a:bodyPr/>
          <a:lstStyle/>
          <a:p>
            <a:pPr marL="342900" indent="-342900" algn="just">
              <a:buFont typeface="+mj-lt"/>
              <a:buAutoNum type="arabicPeriod"/>
            </a:pPr>
            <a:r>
              <a:rPr lang="en-GB" sz="1600"/>
              <a:t>A </a:t>
            </a:r>
            <a:r>
              <a:rPr lang="en-GB" sz="1600" b="1"/>
              <a:t>shared mission </a:t>
            </a:r>
            <a:r>
              <a:rPr lang="en-GB" sz="1600"/>
              <a:t>should always be present and should be formulated in an early stage.</a:t>
            </a:r>
          </a:p>
          <a:p>
            <a:pPr marL="342900" indent="-342900" algn="just">
              <a:buFont typeface="+mj-lt"/>
              <a:buAutoNum type="arabicPeriod"/>
            </a:pPr>
            <a:r>
              <a:rPr lang="en-GB" sz="1600"/>
              <a:t>Transitions can only be successful when there is a sufficient and shared </a:t>
            </a:r>
            <a:r>
              <a:rPr lang="en-GB" sz="1600" b="1"/>
              <a:t>sense of urgency </a:t>
            </a:r>
            <a:r>
              <a:rPr lang="en-GB" sz="1600"/>
              <a:t>for change.</a:t>
            </a:r>
          </a:p>
          <a:p>
            <a:pPr marL="342900" indent="-342900" algn="just">
              <a:buFont typeface="+mj-lt"/>
              <a:buAutoNum type="arabicPeriod"/>
            </a:pPr>
            <a:r>
              <a:rPr lang="en-GB" sz="1600"/>
              <a:t>A transition is the </a:t>
            </a:r>
            <a:r>
              <a:rPr lang="en-GB" sz="1600" b="1"/>
              <a:t>sum and integration </a:t>
            </a:r>
            <a:r>
              <a:rPr lang="en-GB" sz="1600"/>
              <a:t>of various sub-approaches which strengthen each other. Mission-driven transitions do not occur automatically and ask for </a:t>
            </a:r>
            <a:r>
              <a:rPr lang="en-GB" sz="1600" b="1"/>
              <a:t>active guidance</a:t>
            </a:r>
            <a:r>
              <a:rPr lang="en-GB" sz="1600"/>
              <a:t> </a:t>
            </a:r>
            <a:r>
              <a:rPr lang="en-GB" sz="1600" b="1"/>
              <a:t>and interventions</a:t>
            </a:r>
            <a:r>
              <a:rPr lang="en-GB" sz="1600"/>
              <a:t>.</a:t>
            </a:r>
          </a:p>
          <a:p>
            <a:pPr marL="342900" indent="-342900" algn="just">
              <a:buFont typeface="+mj-lt"/>
              <a:buAutoNum type="arabicPeriod"/>
            </a:pPr>
            <a:r>
              <a:rPr lang="en-GB" sz="1600"/>
              <a:t>Systems cannot be transformed by single actors. </a:t>
            </a:r>
            <a:r>
              <a:rPr lang="en-GB" sz="1600" b="1"/>
              <a:t>Collaboration</a:t>
            </a:r>
            <a:r>
              <a:rPr lang="en-GB" sz="1600"/>
              <a:t> is crucial for transitions, but it will only work when there are </a:t>
            </a:r>
            <a:r>
              <a:rPr lang="en-GB" sz="1600" b="1"/>
              <a:t>manageable parts </a:t>
            </a:r>
            <a:r>
              <a:rPr lang="en-GB" sz="1600"/>
              <a:t>of the process which actors can influence.</a:t>
            </a:r>
          </a:p>
          <a:p>
            <a:pPr marL="342900" indent="-342900" algn="just">
              <a:buFont typeface="+mj-lt"/>
              <a:buAutoNum type="arabicPeriod"/>
            </a:pPr>
            <a:r>
              <a:rPr lang="en-GB" sz="1600"/>
              <a:t>Transitions </a:t>
            </a:r>
            <a:r>
              <a:rPr lang="en-GB" sz="1600" b="1"/>
              <a:t>can be managed </a:t>
            </a:r>
            <a:r>
              <a:rPr lang="en-GB" sz="1600"/>
              <a:t>according to the high-level steps indicated in the previous slide, but no two systemic transitions are the same. Each water challenge has their </a:t>
            </a:r>
            <a:r>
              <a:rPr lang="en-GB" sz="1600" b="1"/>
              <a:t>own specific, situational context</a:t>
            </a:r>
            <a:r>
              <a:rPr lang="en-GB" sz="1600"/>
              <a:t> and therefore requires its own approach. A quality analysis of the current situation is crucial.</a:t>
            </a:r>
          </a:p>
        </p:txBody>
      </p:sp>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712720"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5. What are the implications for my approach?</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2" name="Title 1">
            <a:extLst>
              <a:ext uri="{FF2B5EF4-FFF2-40B4-BE49-F238E27FC236}">
                <a16:creationId xmlns:a16="http://schemas.microsoft.com/office/drawing/2014/main" id="{2BC8D503-AF39-13A9-9863-ED120E59C3D3}"/>
              </a:ext>
            </a:extLst>
          </p:cNvPr>
          <p:cNvSpPr txBox="1">
            <a:spLocks/>
          </p:cNvSpPr>
          <p:nvPr/>
        </p:nvSpPr>
        <p:spPr>
          <a:xfrm>
            <a:off x="702115" y="1507330"/>
            <a:ext cx="6204921" cy="410072"/>
          </a:xfrm>
          <a:prstGeom prst="rect">
            <a:avLst/>
          </a:prstGeom>
        </p:spPr>
        <p:txBody>
          <a:bodyPr vert="horz" lIns="61120" tIns="30560" rIns="61120" bIns="3056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1872" b="1">
                <a:latin typeface="Segoe UI Semibold (Headings)"/>
                <a:cs typeface="Segoe UI" panose="020B0502040204020203" pitchFamily="34" charset="0"/>
              </a:rPr>
              <a:t>Transition principles</a:t>
            </a:r>
          </a:p>
        </p:txBody>
      </p:sp>
      <p:sp>
        <p:nvSpPr>
          <p:cNvPr id="4" name="Title 1">
            <a:extLst>
              <a:ext uri="{FF2B5EF4-FFF2-40B4-BE49-F238E27FC236}">
                <a16:creationId xmlns:a16="http://schemas.microsoft.com/office/drawing/2014/main" id="{13600E78-4485-A93A-580C-10C7C139A80F}"/>
              </a:ext>
            </a:extLst>
          </p:cNvPr>
          <p:cNvSpPr txBox="1">
            <a:spLocks/>
          </p:cNvSpPr>
          <p:nvPr/>
        </p:nvSpPr>
        <p:spPr>
          <a:xfrm>
            <a:off x="7308521" y="1507330"/>
            <a:ext cx="4526000" cy="410072"/>
          </a:xfrm>
          <a:prstGeom prst="rect">
            <a:avLst/>
          </a:prstGeom>
        </p:spPr>
        <p:txBody>
          <a:bodyPr vert="horz" lIns="61120" tIns="30560" rIns="61120" bIns="3056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1872" b="1">
                <a:latin typeface="Segoe UI Semibold (Headings)"/>
                <a:cs typeface="Segoe UI" panose="020B0502040204020203" pitchFamily="34" charset="0"/>
              </a:rPr>
              <a:t>To learn more</a:t>
            </a:r>
          </a:p>
        </p:txBody>
      </p:sp>
      <p:sp>
        <p:nvSpPr>
          <p:cNvPr id="10" name="Content Placeholder 2">
            <a:extLst>
              <a:ext uri="{FF2B5EF4-FFF2-40B4-BE49-F238E27FC236}">
                <a16:creationId xmlns:a16="http://schemas.microsoft.com/office/drawing/2014/main" id="{EF52C5B7-32A8-9F78-4BB1-6F89E0E6B0A7}"/>
              </a:ext>
            </a:extLst>
          </p:cNvPr>
          <p:cNvSpPr txBox="1">
            <a:spLocks/>
          </p:cNvSpPr>
          <p:nvPr/>
        </p:nvSpPr>
        <p:spPr>
          <a:xfrm>
            <a:off x="7286625" y="2019624"/>
            <a:ext cx="4411812" cy="2790501"/>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GB" sz="1600" dirty="0"/>
              <a:t>If you are interested in incorporating a systems perspective into your approach to addressing water challenges, please contact:</a:t>
            </a:r>
          </a:p>
          <a:p>
            <a:pPr algn="just"/>
            <a:r>
              <a:rPr lang="en-GB" sz="1600" dirty="0"/>
              <a:t>The Valuing Water Initiative team, fostering the adoption of a systems change and values perspective in decision-making around water, at </a:t>
            </a:r>
            <a:r>
              <a:rPr lang="en-GB" sz="1600" dirty="0">
                <a:hlinkClick r:id="rId4"/>
              </a:rPr>
              <a:t>vwi@rvo.nl</a:t>
            </a:r>
            <a:r>
              <a:rPr lang="en-GB" sz="1600" dirty="0"/>
              <a:t>.</a:t>
            </a:r>
          </a:p>
          <a:p>
            <a:pPr algn="just"/>
            <a:r>
              <a:rPr lang="en-GB" sz="1600" dirty="0"/>
              <a:t>The NewForesight team, experts in systemic change and co-developers of the </a:t>
            </a:r>
            <a:r>
              <a:rPr lang="en-GB" sz="1600" dirty="0" err="1"/>
              <a:t>TransMission</a:t>
            </a:r>
            <a:r>
              <a:rPr lang="en-GB" sz="1600" dirty="0"/>
              <a:t> framework for managing sustainability transitions, at </a:t>
            </a:r>
            <a:r>
              <a:rPr lang="en-GB" sz="1600" dirty="0">
                <a:hlinkClick r:id="rId5"/>
              </a:rPr>
              <a:t>info@newforesight.com</a:t>
            </a:r>
            <a:r>
              <a:rPr lang="en-GB" sz="1600" dirty="0"/>
              <a:t>. </a:t>
            </a:r>
          </a:p>
        </p:txBody>
      </p:sp>
      <p:sp>
        <p:nvSpPr>
          <p:cNvPr id="12" name="Rectangle 11">
            <a:extLst>
              <a:ext uri="{FF2B5EF4-FFF2-40B4-BE49-F238E27FC236}">
                <a16:creationId xmlns:a16="http://schemas.microsoft.com/office/drawing/2014/main" id="{8DEFFAA7-E327-2899-EC05-BE564AC5EB5B}"/>
              </a:ext>
            </a:extLst>
          </p:cNvPr>
          <p:cNvSpPr/>
          <p:nvPr/>
        </p:nvSpPr>
        <p:spPr>
          <a:xfrm>
            <a:off x="595166" y="6446945"/>
            <a:ext cx="11691938" cy="383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Source: The </a:t>
            </a:r>
            <a:r>
              <a:rPr lang="en-US" sz="1200" i="1" err="1">
                <a:solidFill>
                  <a:schemeClr val="tx1"/>
                </a:solidFill>
              </a:rPr>
              <a:t>TransMission</a:t>
            </a:r>
            <a:r>
              <a:rPr lang="en-US" sz="1200" i="1">
                <a:solidFill>
                  <a:schemeClr val="tx1"/>
                </a:solidFill>
              </a:rPr>
              <a:t> framework by NewForesight, </a:t>
            </a:r>
            <a:r>
              <a:rPr lang="en-US" sz="1200" i="1" err="1">
                <a:solidFill>
                  <a:schemeClr val="tx1"/>
                </a:solidFill>
              </a:rPr>
              <a:t>Nyenrode</a:t>
            </a:r>
            <a:r>
              <a:rPr lang="en-US" sz="1200" i="1">
                <a:solidFill>
                  <a:schemeClr val="tx1"/>
                </a:solidFill>
              </a:rPr>
              <a:t> &amp; Copernicus Institute (2023)</a:t>
            </a:r>
          </a:p>
        </p:txBody>
      </p:sp>
    </p:spTree>
    <p:extLst>
      <p:ext uri="{BB962C8B-B14F-4D97-AF65-F5344CB8AC3E}">
        <p14:creationId xmlns:p14="http://schemas.microsoft.com/office/powerpoint/2010/main" val="4159537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24700"/>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1. Why is it important to understand systems and take a systemic approach?</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10" name="Title 1">
            <a:extLst>
              <a:ext uri="{FF2B5EF4-FFF2-40B4-BE49-F238E27FC236}">
                <a16:creationId xmlns:a16="http://schemas.microsoft.com/office/drawing/2014/main" id="{304454B1-0CB3-25F9-9D48-B414C85B64F5}"/>
              </a:ext>
            </a:extLst>
          </p:cNvPr>
          <p:cNvSpPr txBox="1">
            <a:spLocks/>
          </p:cNvSpPr>
          <p:nvPr/>
        </p:nvSpPr>
        <p:spPr>
          <a:xfrm>
            <a:off x="702116" y="1507330"/>
            <a:ext cx="5393884" cy="410072"/>
          </a:xfrm>
          <a:prstGeom prst="rect">
            <a:avLst/>
          </a:prstGeom>
        </p:spPr>
        <p:txBody>
          <a:bodyPr vert="horz" lIns="61120" tIns="30560" rIns="61120" bIns="3056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1872" b="1">
                <a:latin typeface="Segoe UI Semibold (Headings)"/>
                <a:cs typeface="Segoe UI" panose="020B0502040204020203" pitchFamily="34" charset="0"/>
              </a:rPr>
              <a:t>Systemic issues</a:t>
            </a:r>
          </a:p>
        </p:txBody>
      </p:sp>
      <p:sp>
        <p:nvSpPr>
          <p:cNvPr id="12" name="Rectangle 11">
            <a:extLst>
              <a:ext uri="{FF2B5EF4-FFF2-40B4-BE49-F238E27FC236}">
                <a16:creationId xmlns:a16="http://schemas.microsoft.com/office/drawing/2014/main" id="{0FA2F9A9-220F-296A-A7CF-10FC850D4242}"/>
              </a:ext>
            </a:extLst>
          </p:cNvPr>
          <p:cNvSpPr/>
          <p:nvPr/>
        </p:nvSpPr>
        <p:spPr>
          <a:xfrm>
            <a:off x="702116" y="2061685"/>
            <a:ext cx="5397459" cy="4390980"/>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902353">
              <a:defRPr/>
            </a:pPr>
            <a:r>
              <a:rPr lang="en-GB" sz="1400">
                <a:solidFill>
                  <a:schemeClr val="tx1"/>
                </a:solidFill>
                <a:latin typeface="Segoe UI Light" panose="020B0502040204020203" pitchFamily="34" charset="0"/>
                <a:cs typeface="Segoe UI Light" panose="020B0502040204020203" pitchFamily="34" charset="0"/>
              </a:rPr>
              <a:t>The challenges taking place in the world around us can be simple, complicated or systemic. </a:t>
            </a:r>
            <a:r>
              <a:rPr lang="en-GB" sz="1400" b="1">
                <a:solidFill>
                  <a:schemeClr val="tx1"/>
                </a:solidFill>
                <a:latin typeface="Segoe UI Light" panose="020B0502040204020203" pitchFamily="34" charset="0"/>
                <a:cs typeface="Segoe UI Light" panose="020B0502040204020203" pitchFamily="34" charset="0"/>
              </a:rPr>
              <a:t>Simple issues </a:t>
            </a:r>
            <a:r>
              <a:rPr lang="en-GB" sz="1400">
                <a:solidFill>
                  <a:schemeClr val="tx1"/>
                </a:solidFill>
                <a:latin typeface="Segoe UI Light" panose="020B0502040204020203" pitchFamily="34" charset="0"/>
                <a:cs typeface="Segoe UI Light" panose="020B0502040204020203" pitchFamily="34" charset="0"/>
              </a:rPr>
              <a:t>often have a straightforward solution and are relatively easy to solve. </a:t>
            </a:r>
            <a:r>
              <a:rPr lang="en-GB" sz="1400" b="1">
                <a:solidFill>
                  <a:schemeClr val="tx1"/>
                </a:solidFill>
                <a:latin typeface="Segoe UI Light" panose="020B0502040204020203" pitchFamily="34" charset="0"/>
                <a:cs typeface="Segoe UI Light" panose="020B0502040204020203" pitchFamily="34" charset="0"/>
              </a:rPr>
              <a:t>Complicated issues </a:t>
            </a:r>
            <a:r>
              <a:rPr lang="en-GB" sz="1400">
                <a:solidFill>
                  <a:schemeClr val="tx1"/>
                </a:solidFill>
                <a:latin typeface="Segoe UI Light" panose="020B0502040204020203" pitchFamily="34" charset="0"/>
                <a:cs typeface="Segoe UI Light" panose="020B0502040204020203" pitchFamily="34" charset="0"/>
              </a:rPr>
              <a:t>are more difficult to solve and often require new ways of thinking, technological innovations and organizational changes. </a:t>
            </a:r>
            <a:r>
              <a:rPr lang="en-GB" sz="1400" b="1">
                <a:solidFill>
                  <a:schemeClr val="tx1"/>
                </a:solidFill>
                <a:latin typeface="Segoe UI Light" panose="020B0502040204020203" pitchFamily="34" charset="0"/>
                <a:cs typeface="Segoe UI Light" panose="020B0502040204020203" pitchFamily="34" charset="0"/>
              </a:rPr>
              <a:t>Systemic issues </a:t>
            </a:r>
            <a:r>
              <a:rPr lang="en-GB" sz="1400">
                <a:solidFill>
                  <a:schemeClr val="tx1"/>
                </a:solidFill>
                <a:latin typeface="Segoe UI Light" panose="020B0502040204020203" pitchFamily="34" charset="0"/>
                <a:cs typeface="Segoe UI Light" panose="020B0502040204020203" pitchFamily="34" charset="0"/>
              </a:rPr>
              <a:t>not only resist solving, but are also difficult or even impossible to define. In part, this is because such issues have multiple </a:t>
            </a:r>
            <a:r>
              <a:rPr lang="en-GB" sz="1400" b="1">
                <a:solidFill>
                  <a:schemeClr val="tx1"/>
                </a:solidFill>
                <a:latin typeface="Segoe UI Light" panose="020B0502040204020203" pitchFamily="34" charset="0"/>
                <a:cs typeface="Segoe UI Light" panose="020B0502040204020203" pitchFamily="34" charset="0"/>
              </a:rPr>
              <a:t>root causes</a:t>
            </a:r>
            <a:r>
              <a:rPr lang="en-GB" sz="1400">
                <a:solidFill>
                  <a:schemeClr val="tx1"/>
                </a:solidFill>
                <a:latin typeface="Segoe UI Light" panose="020B0502040204020203" pitchFamily="34" charset="0"/>
                <a:cs typeface="Segoe UI Light" panose="020B0502040204020203" pitchFamily="34" charset="0"/>
              </a:rPr>
              <a:t>, and these root causes are not always brought to light. In this sense, the water issues we see happening in the world are a </a:t>
            </a:r>
            <a:r>
              <a:rPr lang="en-GB" sz="1400" b="1">
                <a:solidFill>
                  <a:schemeClr val="tx1"/>
                </a:solidFill>
                <a:latin typeface="Segoe UI Light" panose="020B0502040204020203" pitchFamily="34" charset="0"/>
                <a:cs typeface="Segoe UI Light" panose="020B0502040204020203" pitchFamily="34" charset="0"/>
              </a:rPr>
              <a:t>natural outcome of the system </a:t>
            </a:r>
            <a:r>
              <a:rPr lang="en-GB" sz="1400">
                <a:solidFill>
                  <a:schemeClr val="tx1"/>
                </a:solidFill>
                <a:latin typeface="Segoe UI Light" panose="020B0502040204020203" pitchFamily="34" charset="0"/>
                <a:cs typeface="Segoe UI Light" panose="020B0502040204020203" pitchFamily="34" charset="0"/>
              </a:rPr>
              <a:t>in which we operate. Moreover, such systems consist of many </a:t>
            </a:r>
            <a:r>
              <a:rPr lang="en-GB" sz="1400" b="1">
                <a:solidFill>
                  <a:schemeClr val="tx1"/>
                </a:solidFill>
                <a:latin typeface="Segoe UI Light" panose="020B0502040204020203" pitchFamily="34" charset="0"/>
                <a:cs typeface="Segoe UI Light" panose="020B0502040204020203" pitchFamily="34" charset="0"/>
              </a:rPr>
              <a:t>interacting elements </a:t>
            </a:r>
            <a:r>
              <a:rPr lang="en-GB" sz="1400">
                <a:solidFill>
                  <a:schemeClr val="tx1"/>
                </a:solidFill>
                <a:latin typeface="Segoe UI Light" panose="020B0502040204020203" pitchFamily="34" charset="0"/>
                <a:cs typeface="Segoe UI Light" panose="020B0502040204020203" pitchFamily="34" charset="0"/>
              </a:rPr>
              <a:t>– and their interconnectedness must be understood to fully understand systemic issues.</a:t>
            </a:r>
          </a:p>
          <a:p>
            <a:pPr algn="just" defTabSz="902353">
              <a:defRPr/>
            </a:pPr>
            <a:endParaRPr lang="en-GB" sz="1400">
              <a:solidFill>
                <a:schemeClr val="tx1"/>
              </a:solidFill>
              <a:latin typeface="Segoe UI Light" panose="020B0502040204020203" pitchFamily="34" charset="0"/>
              <a:cs typeface="Segoe UI Light" panose="020B0502040204020203" pitchFamily="34" charset="0"/>
            </a:endParaRPr>
          </a:p>
          <a:p>
            <a:pPr algn="just" defTabSz="902353">
              <a:defRPr/>
            </a:pPr>
            <a:r>
              <a:rPr lang="en-GB" sz="1400">
                <a:solidFill>
                  <a:schemeClr val="tx1"/>
                </a:solidFill>
                <a:latin typeface="Segoe UI Light" panose="020B0502040204020203" pitchFamily="34" charset="0"/>
                <a:cs typeface="Segoe UI Light" panose="020B0502040204020203" pitchFamily="34" charset="0"/>
              </a:rPr>
              <a:t>As a result, there is </a:t>
            </a:r>
            <a:r>
              <a:rPr lang="en-GB" sz="1400" b="1">
                <a:solidFill>
                  <a:schemeClr val="tx1"/>
                </a:solidFill>
                <a:latin typeface="Segoe UI Light" panose="020B0502040204020203" pitchFamily="34" charset="0"/>
                <a:cs typeface="Segoe UI Light" panose="020B0502040204020203" pitchFamily="34" charset="0"/>
              </a:rPr>
              <a:t>no single or straightforward solution </a:t>
            </a:r>
            <a:r>
              <a:rPr lang="en-GB" sz="1400">
                <a:solidFill>
                  <a:schemeClr val="tx1"/>
                </a:solidFill>
                <a:latin typeface="Segoe UI Light" panose="020B0502040204020203" pitchFamily="34" charset="0"/>
                <a:cs typeface="Segoe UI Light" panose="020B0502040204020203" pitchFamily="34" charset="0"/>
              </a:rPr>
              <a:t>to a systemic issue. Rather than being able to ‘solve’ the issue, systemic water challenges can be </a:t>
            </a:r>
            <a:r>
              <a:rPr lang="en-GB" sz="1400" b="1">
                <a:solidFill>
                  <a:schemeClr val="tx1"/>
                </a:solidFill>
                <a:latin typeface="Segoe UI Light" panose="020B0502040204020203" pitchFamily="34" charset="0"/>
                <a:cs typeface="Segoe UI Light" panose="020B0502040204020203" pitchFamily="34" charset="0"/>
              </a:rPr>
              <a:t>addressed with various approaches</a:t>
            </a:r>
            <a:r>
              <a:rPr lang="en-GB" sz="1400">
                <a:solidFill>
                  <a:schemeClr val="tx1"/>
                </a:solidFill>
                <a:latin typeface="Segoe UI Light" panose="020B0502040204020203" pitchFamily="34" charset="0"/>
                <a:cs typeface="Segoe UI Light" panose="020B0502040204020203" pitchFamily="34" charset="0"/>
              </a:rPr>
              <a:t>. Understanding systemic issues well is a prerequisite for finding an effective approach to address them.</a:t>
            </a:r>
          </a:p>
        </p:txBody>
      </p:sp>
      <p:sp>
        <p:nvSpPr>
          <p:cNvPr id="13" name="Title 1">
            <a:extLst>
              <a:ext uri="{FF2B5EF4-FFF2-40B4-BE49-F238E27FC236}">
                <a16:creationId xmlns:a16="http://schemas.microsoft.com/office/drawing/2014/main" id="{06D00647-C846-1C89-7B7B-E9410D9329E9}"/>
              </a:ext>
            </a:extLst>
          </p:cNvPr>
          <p:cNvSpPr txBox="1">
            <a:spLocks/>
          </p:cNvSpPr>
          <p:nvPr/>
        </p:nvSpPr>
        <p:spPr>
          <a:xfrm>
            <a:off x="6440637" y="1507330"/>
            <a:ext cx="5393884" cy="410072"/>
          </a:xfrm>
          <a:prstGeom prst="rect">
            <a:avLst/>
          </a:prstGeom>
        </p:spPr>
        <p:txBody>
          <a:bodyPr vert="horz" lIns="61120" tIns="30560" rIns="61120" bIns="3056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1872" b="1">
                <a:latin typeface="Segoe UI Semibold (Headings)"/>
                <a:cs typeface="Segoe UI" panose="020B0502040204020203" pitchFamily="34" charset="0"/>
              </a:rPr>
              <a:t>Systemic approaches</a:t>
            </a:r>
          </a:p>
        </p:txBody>
      </p:sp>
      <p:sp>
        <p:nvSpPr>
          <p:cNvPr id="14" name="Rectangle 13">
            <a:extLst>
              <a:ext uri="{FF2B5EF4-FFF2-40B4-BE49-F238E27FC236}">
                <a16:creationId xmlns:a16="http://schemas.microsoft.com/office/drawing/2014/main" id="{839731D4-752C-F3FB-411D-FD973241967C}"/>
              </a:ext>
            </a:extLst>
          </p:cNvPr>
          <p:cNvSpPr/>
          <p:nvPr/>
        </p:nvSpPr>
        <p:spPr>
          <a:xfrm>
            <a:off x="6440637" y="2061685"/>
            <a:ext cx="5397459" cy="4390980"/>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marL="0" lvl="5" algn="just" defTabSz="902353"/>
            <a:r>
              <a:rPr lang="en-GB" sz="1400">
                <a:solidFill>
                  <a:schemeClr val="tx1"/>
                </a:solidFill>
                <a:latin typeface="Segoe UI Light" panose="020B0502040204020203" pitchFamily="34" charset="0"/>
                <a:cs typeface="Segoe UI Light" panose="020B0502040204020203" pitchFamily="34" charset="0"/>
              </a:rPr>
              <a:t>Different kinds of issues require different approaches. Simple issues may be resolved with straightforward solutions in the form of single pilots and projects. The systemic water issues we are facing, however, require a </a:t>
            </a:r>
            <a:r>
              <a:rPr lang="en-GB" sz="1400" b="1">
                <a:solidFill>
                  <a:schemeClr val="tx1"/>
                </a:solidFill>
                <a:latin typeface="Segoe UI Light" panose="020B0502040204020203" pitchFamily="34" charset="0"/>
                <a:cs typeface="Segoe UI Light" panose="020B0502040204020203" pitchFamily="34" charset="0"/>
              </a:rPr>
              <a:t>systemic approach</a:t>
            </a:r>
            <a:r>
              <a:rPr lang="en-GB" sz="1400">
                <a:solidFill>
                  <a:schemeClr val="tx1"/>
                </a:solidFill>
                <a:latin typeface="Segoe UI Light" panose="020B0502040204020203" pitchFamily="34" charset="0"/>
                <a:cs typeface="Segoe UI Light" panose="020B0502040204020203" pitchFamily="34" charset="0"/>
              </a:rPr>
              <a:t>. To move away from an isolated project approach to a systemic approach means to:</a:t>
            </a:r>
          </a:p>
          <a:p>
            <a:pPr marL="342900" lvl="5" indent="-342900" algn="just" defTabSz="902353">
              <a:buFont typeface="+mj-lt"/>
              <a:buAutoNum type="arabicPeriod"/>
            </a:pPr>
            <a:r>
              <a:rPr lang="en-GB" sz="1400">
                <a:solidFill>
                  <a:schemeClr val="tx1"/>
                </a:solidFill>
                <a:latin typeface="Segoe UI Light" panose="020B0502040204020203" pitchFamily="34" charset="0"/>
                <a:cs typeface="Segoe UI Light" panose="020B0502040204020203" pitchFamily="34" charset="0"/>
              </a:rPr>
              <a:t>Recognize the </a:t>
            </a:r>
            <a:r>
              <a:rPr lang="en-GB" sz="1400" b="1">
                <a:solidFill>
                  <a:schemeClr val="tx1"/>
                </a:solidFill>
                <a:latin typeface="Segoe UI Light" panose="020B0502040204020203" pitchFamily="34" charset="0"/>
                <a:cs typeface="Segoe UI Light" panose="020B0502040204020203" pitchFamily="34" charset="0"/>
              </a:rPr>
              <a:t>characteristics of systemic issues </a:t>
            </a:r>
            <a:r>
              <a:rPr lang="en-GB" sz="1400">
                <a:solidFill>
                  <a:schemeClr val="tx1"/>
                </a:solidFill>
                <a:latin typeface="Segoe UI Light" panose="020B0502040204020203" pitchFamily="34" charset="0"/>
                <a:cs typeface="Segoe UI Light" panose="020B0502040204020203" pitchFamily="34" charset="0"/>
              </a:rPr>
              <a:t>and consider the implications of these characteristics for the way in which it should be addressed;</a:t>
            </a:r>
          </a:p>
          <a:p>
            <a:pPr marL="342900" lvl="5" indent="-342900" algn="just" defTabSz="902353">
              <a:buFont typeface="+mj-lt"/>
              <a:buAutoNum type="arabicPeriod"/>
            </a:pPr>
            <a:r>
              <a:rPr lang="en-GB" sz="1400">
                <a:solidFill>
                  <a:schemeClr val="tx1"/>
                </a:solidFill>
                <a:latin typeface="Segoe UI Light" panose="020B0502040204020203" pitchFamily="34" charset="0"/>
                <a:cs typeface="Segoe UI Light" panose="020B0502040204020203" pitchFamily="34" charset="0"/>
              </a:rPr>
              <a:t>Identify and address the </a:t>
            </a:r>
            <a:r>
              <a:rPr lang="en-GB" sz="1400" b="1">
                <a:solidFill>
                  <a:schemeClr val="tx1"/>
                </a:solidFill>
                <a:latin typeface="Segoe UI Light" panose="020B0502040204020203" pitchFamily="34" charset="0"/>
                <a:cs typeface="Segoe UI Light" panose="020B0502040204020203" pitchFamily="34" charset="0"/>
              </a:rPr>
              <a:t>root cause(s) of the challenge</a:t>
            </a:r>
            <a:r>
              <a:rPr lang="en-GB" sz="1400">
                <a:solidFill>
                  <a:schemeClr val="tx1"/>
                </a:solidFill>
                <a:latin typeface="Segoe UI Light" panose="020B0502040204020203" pitchFamily="34" charset="0"/>
                <a:cs typeface="Segoe UI Light" panose="020B0502040204020203" pitchFamily="34" charset="0"/>
              </a:rPr>
              <a:t>, rather than its symptoms – in order to create large-scale, long-lasting changes;</a:t>
            </a:r>
          </a:p>
          <a:p>
            <a:pPr marL="342900" lvl="5" indent="-342900" algn="just" defTabSz="902353">
              <a:buFont typeface="+mj-lt"/>
              <a:buAutoNum type="arabicPeriod"/>
            </a:pPr>
            <a:r>
              <a:rPr lang="en-GB" sz="1400">
                <a:solidFill>
                  <a:schemeClr val="tx1"/>
                </a:solidFill>
                <a:latin typeface="Segoe UI Light" panose="020B0502040204020203" pitchFamily="34" charset="0"/>
                <a:cs typeface="Segoe UI Light" panose="020B0502040204020203" pitchFamily="34" charset="0"/>
              </a:rPr>
              <a:t>Understand the </a:t>
            </a:r>
            <a:r>
              <a:rPr lang="en-GB" sz="1400" b="1">
                <a:solidFill>
                  <a:schemeClr val="tx1"/>
                </a:solidFill>
                <a:latin typeface="Segoe UI Light" panose="020B0502040204020203" pitchFamily="34" charset="0"/>
                <a:cs typeface="Segoe UI Light" panose="020B0502040204020203" pitchFamily="34" charset="0"/>
              </a:rPr>
              <a:t>interacting elements of a system </a:t>
            </a:r>
            <a:r>
              <a:rPr lang="en-GB" sz="1400">
                <a:solidFill>
                  <a:schemeClr val="tx1"/>
                </a:solidFill>
                <a:latin typeface="Segoe UI Light" panose="020B0502040204020203" pitchFamily="34" charset="0"/>
                <a:cs typeface="Segoe UI Light" panose="020B0502040204020203" pitchFamily="34" charset="0"/>
              </a:rPr>
              <a:t>and your part in it – in order to contribute to changing the wider system. There is not one single actor that can change the system, but rather a collaborative approach should be taken to address the challenge.</a:t>
            </a:r>
          </a:p>
          <a:p>
            <a:pPr marL="0" lvl="5" algn="just" defTabSz="902353"/>
            <a:endParaRPr lang="en-GB" sz="1400">
              <a:solidFill>
                <a:schemeClr val="tx1"/>
              </a:solidFill>
              <a:latin typeface="Segoe UI Light" panose="020B0502040204020203" pitchFamily="34" charset="0"/>
              <a:cs typeface="Segoe UI Light" panose="020B0502040204020203" pitchFamily="34" charset="0"/>
            </a:endParaRPr>
          </a:p>
          <a:p>
            <a:pPr marL="0" lvl="5" algn="just" defTabSz="902353"/>
            <a:r>
              <a:rPr lang="en-GB" sz="1400">
                <a:solidFill>
                  <a:schemeClr val="tx1"/>
                </a:solidFill>
                <a:latin typeface="Segoe UI Light" panose="020B0502040204020203" pitchFamily="34" charset="0"/>
                <a:cs typeface="Segoe UI Light" panose="020B0502040204020203" pitchFamily="34" charset="0"/>
              </a:rPr>
              <a:t>The following slide helps illustrate the difference between various ways of addressing water challenges in a certain system with multiple stakeholders. With this tool, we aim to help you take a systemic approach.</a:t>
            </a:r>
          </a:p>
        </p:txBody>
      </p:sp>
    </p:spTree>
    <p:extLst>
      <p:ext uri="{BB962C8B-B14F-4D97-AF65-F5344CB8AC3E}">
        <p14:creationId xmlns:p14="http://schemas.microsoft.com/office/powerpoint/2010/main" val="10488558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24700"/>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1. Why is it important to understand systems and take a systemic approach?</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20" name="Rectangle 19">
            <a:extLst>
              <a:ext uri="{FF2B5EF4-FFF2-40B4-BE49-F238E27FC236}">
                <a16:creationId xmlns:a16="http://schemas.microsoft.com/office/drawing/2014/main" id="{58CAA36A-6EE7-5340-C7FD-95FCD0B465A8}"/>
              </a:ext>
            </a:extLst>
          </p:cNvPr>
          <p:cNvSpPr/>
          <p:nvPr/>
        </p:nvSpPr>
        <p:spPr>
          <a:xfrm>
            <a:off x="688489" y="1690687"/>
            <a:ext cx="3352300" cy="59055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1</a:t>
            </a:r>
          </a:p>
          <a:p>
            <a:pPr algn="ctr"/>
            <a:r>
              <a:rPr lang="en-US" sz="1400" b="1">
                <a:solidFill>
                  <a:schemeClr val="tx1"/>
                </a:solidFill>
              </a:rPr>
              <a:t>Traditional: Isolation</a:t>
            </a:r>
          </a:p>
        </p:txBody>
      </p:sp>
      <p:sp>
        <p:nvSpPr>
          <p:cNvPr id="21" name="Rectangle 20">
            <a:extLst>
              <a:ext uri="{FF2B5EF4-FFF2-40B4-BE49-F238E27FC236}">
                <a16:creationId xmlns:a16="http://schemas.microsoft.com/office/drawing/2014/main" id="{7D515AB8-B8B8-B2D4-9946-B086FFF133E6}"/>
              </a:ext>
            </a:extLst>
          </p:cNvPr>
          <p:cNvSpPr/>
          <p:nvPr/>
        </p:nvSpPr>
        <p:spPr>
          <a:xfrm>
            <a:off x="4741561" y="1690687"/>
            <a:ext cx="3352300" cy="59055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2</a:t>
            </a:r>
          </a:p>
          <a:p>
            <a:pPr algn="ctr"/>
            <a:r>
              <a:rPr lang="en-US" sz="1400" b="1">
                <a:solidFill>
                  <a:schemeClr val="tx1"/>
                </a:solidFill>
              </a:rPr>
              <a:t>Improved: Exchange</a:t>
            </a:r>
          </a:p>
        </p:txBody>
      </p:sp>
      <p:sp>
        <p:nvSpPr>
          <p:cNvPr id="22" name="Rectangle 21">
            <a:extLst>
              <a:ext uri="{FF2B5EF4-FFF2-40B4-BE49-F238E27FC236}">
                <a16:creationId xmlns:a16="http://schemas.microsoft.com/office/drawing/2014/main" id="{39D45E32-BEE5-6ADD-3E77-2254F7E67D1A}"/>
              </a:ext>
            </a:extLst>
          </p:cNvPr>
          <p:cNvSpPr/>
          <p:nvPr/>
        </p:nvSpPr>
        <p:spPr>
          <a:xfrm>
            <a:off x="8655681" y="1690687"/>
            <a:ext cx="3352300" cy="59055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tx1"/>
                </a:solidFill>
              </a:rPr>
              <a:t>3</a:t>
            </a:r>
          </a:p>
          <a:p>
            <a:pPr algn="ctr"/>
            <a:r>
              <a:rPr lang="en-US" sz="1400" b="1">
                <a:solidFill>
                  <a:schemeClr val="tx1"/>
                </a:solidFill>
              </a:rPr>
              <a:t>Transformational: Systemic</a:t>
            </a:r>
          </a:p>
        </p:txBody>
      </p:sp>
      <p:sp>
        <p:nvSpPr>
          <p:cNvPr id="23" name="Rectangle 22">
            <a:extLst>
              <a:ext uri="{FF2B5EF4-FFF2-40B4-BE49-F238E27FC236}">
                <a16:creationId xmlns:a16="http://schemas.microsoft.com/office/drawing/2014/main" id="{26B69764-4E48-EAC5-2154-DCD9D15C2326}"/>
              </a:ext>
            </a:extLst>
          </p:cNvPr>
          <p:cNvSpPr/>
          <p:nvPr/>
        </p:nvSpPr>
        <p:spPr>
          <a:xfrm>
            <a:off x="688498" y="5155332"/>
            <a:ext cx="3352554" cy="1348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a:solidFill>
                  <a:schemeClr val="tx1">
                    <a:lumMod val="50000"/>
                    <a:lumOff val="50000"/>
                  </a:schemeClr>
                </a:solidFill>
              </a:rPr>
              <a:t>In a given watershed, geography or system, different stakeholders, such as NGOs, local government and corporates, operate individually through isolated projects and pilots. </a:t>
            </a:r>
          </a:p>
        </p:txBody>
      </p:sp>
      <p:sp>
        <p:nvSpPr>
          <p:cNvPr id="24" name="Rectangle 23">
            <a:extLst>
              <a:ext uri="{FF2B5EF4-FFF2-40B4-BE49-F238E27FC236}">
                <a16:creationId xmlns:a16="http://schemas.microsoft.com/office/drawing/2014/main" id="{D1749854-0830-CD38-389C-3E685293C48B}"/>
              </a:ext>
            </a:extLst>
          </p:cNvPr>
          <p:cNvSpPr/>
          <p:nvPr/>
        </p:nvSpPr>
        <p:spPr>
          <a:xfrm>
            <a:off x="4741438" y="5167790"/>
            <a:ext cx="3352554" cy="1348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a:solidFill>
                  <a:schemeClr val="tx1">
                    <a:lumMod val="50000"/>
                    <a:lumOff val="50000"/>
                  </a:schemeClr>
                </a:solidFill>
              </a:rPr>
              <a:t>In a given watershed, geography or system, different stakeholders exchange resources of all kinds (donations, expertise, data) to each of the partners, enabling them to deliver more or better. However, not all actors and efforts are aligned towards the same goal. </a:t>
            </a:r>
          </a:p>
        </p:txBody>
      </p:sp>
      <p:sp>
        <p:nvSpPr>
          <p:cNvPr id="25" name="Rectangle 24">
            <a:extLst>
              <a:ext uri="{FF2B5EF4-FFF2-40B4-BE49-F238E27FC236}">
                <a16:creationId xmlns:a16="http://schemas.microsoft.com/office/drawing/2014/main" id="{3B926599-6D83-6C49-43EF-DEC7C112A7BA}"/>
              </a:ext>
            </a:extLst>
          </p:cNvPr>
          <p:cNvSpPr/>
          <p:nvPr/>
        </p:nvSpPr>
        <p:spPr>
          <a:xfrm>
            <a:off x="8655427" y="5155332"/>
            <a:ext cx="3352554" cy="1348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a:solidFill>
                  <a:schemeClr val="tx1">
                    <a:lumMod val="50000"/>
                    <a:lumOff val="50000"/>
                  </a:schemeClr>
                </a:solidFill>
              </a:rPr>
              <a:t>In a given watershed, geography or system, multiple actors combine complementary resources to achieve a common goal and bring about large-scale, long-term and collaborative systemic change. </a:t>
            </a:r>
          </a:p>
        </p:txBody>
      </p:sp>
      <p:sp>
        <p:nvSpPr>
          <p:cNvPr id="72" name="Arrow: Right 71">
            <a:extLst>
              <a:ext uri="{FF2B5EF4-FFF2-40B4-BE49-F238E27FC236}">
                <a16:creationId xmlns:a16="http://schemas.microsoft.com/office/drawing/2014/main" id="{660A9320-0573-B292-8BF6-7AE644C9C2B8}"/>
              </a:ext>
            </a:extLst>
          </p:cNvPr>
          <p:cNvSpPr/>
          <p:nvPr/>
        </p:nvSpPr>
        <p:spPr>
          <a:xfrm rot="16200000">
            <a:off x="10571630" y="4140847"/>
            <a:ext cx="433377" cy="262747"/>
          </a:xfrm>
          <a:prstGeom prst="rightArrow">
            <a:avLst/>
          </a:prstGeom>
          <a:solidFill>
            <a:srgbClr val="003857">
              <a:lumMod val="50000"/>
              <a:lumOff val="5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73" name="Arrow: Right 72">
            <a:extLst>
              <a:ext uri="{FF2B5EF4-FFF2-40B4-BE49-F238E27FC236}">
                <a16:creationId xmlns:a16="http://schemas.microsoft.com/office/drawing/2014/main" id="{4EACF7B1-1307-D2FC-E533-EF1A5244329C}"/>
              </a:ext>
            </a:extLst>
          </p:cNvPr>
          <p:cNvSpPr/>
          <p:nvPr/>
        </p:nvSpPr>
        <p:spPr>
          <a:xfrm rot="16200000">
            <a:off x="10085989" y="3631793"/>
            <a:ext cx="433377" cy="262747"/>
          </a:xfrm>
          <a:prstGeom prst="rightArrow">
            <a:avLst/>
          </a:prstGeom>
          <a:solidFill>
            <a:srgbClr val="003857">
              <a:lumMod val="10000"/>
              <a:lumOff val="9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74" name="Arrow: Right 73">
            <a:extLst>
              <a:ext uri="{FF2B5EF4-FFF2-40B4-BE49-F238E27FC236}">
                <a16:creationId xmlns:a16="http://schemas.microsoft.com/office/drawing/2014/main" id="{436BFB3E-1024-D4A9-E7F3-B0CE7257EAB6}"/>
              </a:ext>
            </a:extLst>
          </p:cNvPr>
          <p:cNvSpPr/>
          <p:nvPr/>
        </p:nvSpPr>
        <p:spPr>
          <a:xfrm rot="16200000">
            <a:off x="10967985" y="3380263"/>
            <a:ext cx="433377" cy="262747"/>
          </a:xfrm>
          <a:prstGeom prst="rightArrow">
            <a:avLst/>
          </a:prstGeom>
          <a:solidFill>
            <a:srgbClr val="003857">
              <a:lumMod val="25000"/>
              <a:lumOff val="75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75" name="Arrow: Right 74">
            <a:extLst>
              <a:ext uri="{FF2B5EF4-FFF2-40B4-BE49-F238E27FC236}">
                <a16:creationId xmlns:a16="http://schemas.microsoft.com/office/drawing/2014/main" id="{0CCB8442-9D8A-0AFC-09BE-0DEB7932542F}"/>
              </a:ext>
            </a:extLst>
          </p:cNvPr>
          <p:cNvSpPr/>
          <p:nvPr/>
        </p:nvSpPr>
        <p:spPr>
          <a:xfrm rot="16200000">
            <a:off x="10184530" y="2674489"/>
            <a:ext cx="433377" cy="262747"/>
          </a:xfrm>
          <a:prstGeom prst="rightArrow">
            <a:avLst/>
          </a:prstGeom>
          <a:solidFill>
            <a:srgbClr val="003857">
              <a:lumMod val="50000"/>
              <a:lumOff val="5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76" name="Oval 75">
            <a:extLst>
              <a:ext uri="{FF2B5EF4-FFF2-40B4-BE49-F238E27FC236}">
                <a16:creationId xmlns:a16="http://schemas.microsoft.com/office/drawing/2014/main" id="{660B68ED-C463-B4EE-D427-4CE1AAE11122}"/>
              </a:ext>
            </a:extLst>
          </p:cNvPr>
          <p:cNvSpPr/>
          <p:nvPr/>
        </p:nvSpPr>
        <p:spPr>
          <a:xfrm>
            <a:off x="1269825" y="2790610"/>
            <a:ext cx="667974" cy="590550"/>
          </a:xfrm>
          <a:prstGeom prst="ellipse">
            <a:avLst/>
          </a:prstGeom>
          <a:solidFill>
            <a:srgbClr val="003857">
              <a:lumMod val="10000"/>
              <a:lumOff val="9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C0035B2E-28E1-0678-6AB8-4D20AF3C3615}"/>
              </a:ext>
            </a:extLst>
          </p:cNvPr>
          <p:cNvSpPr/>
          <p:nvPr/>
        </p:nvSpPr>
        <p:spPr>
          <a:xfrm>
            <a:off x="1269825" y="4261200"/>
            <a:ext cx="667974" cy="590550"/>
          </a:xfrm>
          <a:prstGeom prst="ellipse">
            <a:avLst/>
          </a:prstGeom>
          <a:solidFill>
            <a:srgbClr val="003857">
              <a:lumMod val="25000"/>
              <a:lumOff val="75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A92514B1-E388-EA60-5A9D-A02DADB0BF8D}"/>
              </a:ext>
            </a:extLst>
          </p:cNvPr>
          <p:cNvSpPr/>
          <p:nvPr/>
        </p:nvSpPr>
        <p:spPr>
          <a:xfrm>
            <a:off x="2584275" y="3553440"/>
            <a:ext cx="667974" cy="590550"/>
          </a:xfrm>
          <a:prstGeom prst="ellipse">
            <a:avLst/>
          </a:prstGeom>
          <a:solidFill>
            <a:srgbClr val="003857">
              <a:lumMod val="50000"/>
              <a:lumOff val="5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5754C5B7-5C17-C3DF-0FE8-9C6B5EF806C7}"/>
              </a:ext>
            </a:extLst>
          </p:cNvPr>
          <p:cNvSpPr/>
          <p:nvPr/>
        </p:nvSpPr>
        <p:spPr>
          <a:xfrm>
            <a:off x="7250784" y="3100418"/>
            <a:ext cx="667974" cy="590550"/>
          </a:xfrm>
          <a:prstGeom prst="ellipse">
            <a:avLst/>
          </a:prstGeom>
          <a:solidFill>
            <a:srgbClr val="003857">
              <a:lumMod val="10000"/>
              <a:lumOff val="9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FF40DEEA-BE6F-7055-44A3-639B37BE6F22}"/>
              </a:ext>
            </a:extLst>
          </p:cNvPr>
          <p:cNvSpPr/>
          <p:nvPr/>
        </p:nvSpPr>
        <p:spPr>
          <a:xfrm>
            <a:off x="4871969" y="4225386"/>
            <a:ext cx="667974" cy="590550"/>
          </a:xfrm>
          <a:prstGeom prst="ellipse">
            <a:avLst/>
          </a:prstGeom>
          <a:solidFill>
            <a:srgbClr val="003857">
              <a:lumMod val="50000"/>
              <a:lumOff val="5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95B3FE0A-569B-2670-4D87-A4878463DA95}"/>
              </a:ext>
            </a:extLst>
          </p:cNvPr>
          <p:cNvSpPr/>
          <p:nvPr/>
        </p:nvSpPr>
        <p:spPr>
          <a:xfrm>
            <a:off x="5330419" y="3292839"/>
            <a:ext cx="667974" cy="590550"/>
          </a:xfrm>
          <a:prstGeom prst="ellipse">
            <a:avLst/>
          </a:prstGeom>
          <a:solidFill>
            <a:srgbClr val="003857">
              <a:lumMod val="25000"/>
              <a:lumOff val="75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E18C5442-C598-12AD-14A3-3B73D1DCF4C3}"/>
              </a:ext>
            </a:extLst>
          </p:cNvPr>
          <p:cNvSpPr/>
          <p:nvPr/>
        </p:nvSpPr>
        <p:spPr>
          <a:xfrm>
            <a:off x="6850790" y="4119562"/>
            <a:ext cx="667974" cy="590550"/>
          </a:xfrm>
          <a:prstGeom prst="ellipse">
            <a:avLst/>
          </a:prstGeom>
          <a:solidFill>
            <a:srgbClr val="003857">
              <a:lumMod val="10000"/>
              <a:lumOff val="9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FC37D556-4B7A-87C7-2B97-7057D6A96207}"/>
              </a:ext>
            </a:extLst>
          </p:cNvPr>
          <p:cNvSpPr/>
          <p:nvPr/>
        </p:nvSpPr>
        <p:spPr>
          <a:xfrm>
            <a:off x="6302671" y="3212841"/>
            <a:ext cx="667974" cy="590550"/>
          </a:xfrm>
          <a:prstGeom prst="ellipse">
            <a:avLst/>
          </a:prstGeom>
          <a:solidFill>
            <a:srgbClr val="003857">
              <a:lumMod val="50000"/>
              <a:lumOff val="5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5D0EE129-B911-C9EB-A646-7C478716581E}"/>
              </a:ext>
            </a:extLst>
          </p:cNvPr>
          <p:cNvSpPr/>
          <p:nvPr/>
        </p:nvSpPr>
        <p:spPr>
          <a:xfrm>
            <a:off x="9158295" y="4295582"/>
            <a:ext cx="667974" cy="590550"/>
          </a:xfrm>
          <a:prstGeom prst="ellipse">
            <a:avLst/>
          </a:prstGeom>
          <a:solidFill>
            <a:srgbClr val="003857">
              <a:lumMod val="25000"/>
              <a:lumOff val="75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553BCA84-2EBA-C727-0813-922766E7EE6C}"/>
              </a:ext>
            </a:extLst>
          </p:cNvPr>
          <p:cNvSpPr/>
          <p:nvPr/>
        </p:nvSpPr>
        <p:spPr>
          <a:xfrm>
            <a:off x="9201175" y="3432726"/>
            <a:ext cx="667974" cy="590550"/>
          </a:xfrm>
          <a:prstGeom prst="ellipse">
            <a:avLst/>
          </a:prstGeom>
          <a:solidFill>
            <a:srgbClr val="003857">
              <a:lumMod val="10000"/>
              <a:lumOff val="9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6" name="Oval 85">
            <a:extLst>
              <a:ext uri="{FF2B5EF4-FFF2-40B4-BE49-F238E27FC236}">
                <a16:creationId xmlns:a16="http://schemas.microsoft.com/office/drawing/2014/main" id="{5C04DA64-01C5-E8D6-7BBF-E4A1CBDB9D57}"/>
              </a:ext>
            </a:extLst>
          </p:cNvPr>
          <p:cNvSpPr/>
          <p:nvPr/>
        </p:nvSpPr>
        <p:spPr>
          <a:xfrm>
            <a:off x="10431757" y="4417471"/>
            <a:ext cx="667974" cy="590550"/>
          </a:xfrm>
          <a:prstGeom prst="ellipse">
            <a:avLst/>
          </a:prstGeom>
          <a:solidFill>
            <a:srgbClr val="003857">
              <a:lumMod val="50000"/>
              <a:lumOff val="5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CC8B4370-0745-D321-D37B-6027860C768D}"/>
              </a:ext>
            </a:extLst>
          </p:cNvPr>
          <p:cNvSpPr/>
          <p:nvPr/>
        </p:nvSpPr>
        <p:spPr>
          <a:xfrm>
            <a:off x="9976089" y="3756972"/>
            <a:ext cx="667974" cy="590550"/>
          </a:xfrm>
          <a:prstGeom prst="ellipse">
            <a:avLst/>
          </a:prstGeom>
          <a:solidFill>
            <a:srgbClr val="003857">
              <a:lumMod val="10000"/>
              <a:lumOff val="9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C122EA00-ED53-1CD9-7C1A-E17BC86239EC}"/>
              </a:ext>
            </a:extLst>
          </p:cNvPr>
          <p:cNvSpPr/>
          <p:nvPr/>
        </p:nvSpPr>
        <p:spPr>
          <a:xfrm>
            <a:off x="10072708" y="2832580"/>
            <a:ext cx="667974" cy="590550"/>
          </a:xfrm>
          <a:prstGeom prst="ellipse">
            <a:avLst/>
          </a:prstGeom>
          <a:solidFill>
            <a:srgbClr val="003857">
              <a:lumMod val="50000"/>
              <a:lumOff val="5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89" name="Oval 88">
            <a:extLst>
              <a:ext uri="{FF2B5EF4-FFF2-40B4-BE49-F238E27FC236}">
                <a16:creationId xmlns:a16="http://schemas.microsoft.com/office/drawing/2014/main" id="{FAC2C813-F835-4819-CFF5-8575787D0FE6}"/>
              </a:ext>
            </a:extLst>
          </p:cNvPr>
          <p:cNvSpPr/>
          <p:nvPr/>
        </p:nvSpPr>
        <p:spPr>
          <a:xfrm>
            <a:off x="10839499" y="3591636"/>
            <a:ext cx="667974" cy="590550"/>
          </a:xfrm>
          <a:prstGeom prst="ellipse">
            <a:avLst/>
          </a:prstGeom>
          <a:solidFill>
            <a:srgbClr val="003857">
              <a:lumMod val="25000"/>
              <a:lumOff val="75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90" name="Arrow: Up-Down 89">
            <a:extLst>
              <a:ext uri="{FF2B5EF4-FFF2-40B4-BE49-F238E27FC236}">
                <a16:creationId xmlns:a16="http://schemas.microsoft.com/office/drawing/2014/main" id="{B38CFB0C-2FD0-5AFC-6E34-6890AB1F141A}"/>
              </a:ext>
            </a:extLst>
          </p:cNvPr>
          <p:cNvSpPr/>
          <p:nvPr/>
        </p:nvSpPr>
        <p:spPr>
          <a:xfrm rot="1734685">
            <a:off x="5370390" y="3834294"/>
            <a:ext cx="136893" cy="433502"/>
          </a:xfrm>
          <a:prstGeom prst="upDownArrow">
            <a:avLst/>
          </a:prstGeom>
          <a:solidFill>
            <a:sysClr val="window" lastClr="FFFFFF">
              <a:lumMod val="85000"/>
            </a:sys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91" name="Arrow: Up-Down 90">
            <a:extLst>
              <a:ext uri="{FF2B5EF4-FFF2-40B4-BE49-F238E27FC236}">
                <a16:creationId xmlns:a16="http://schemas.microsoft.com/office/drawing/2014/main" id="{961B4DDB-9EDA-23B7-8D5A-7053906F48CD}"/>
              </a:ext>
            </a:extLst>
          </p:cNvPr>
          <p:cNvSpPr/>
          <p:nvPr/>
        </p:nvSpPr>
        <p:spPr>
          <a:xfrm rot="19641744">
            <a:off x="6868107" y="3759662"/>
            <a:ext cx="136893" cy="433502"/>
          </a:xfrm>
          <a:prstGeom prst="upDownArrow">
            <a:avLst/>
          </a:prstGeom>
          <a:solidFill>
            <a:sysClr val="window" lastClr="FFFFFF">
              <a:lumMod val="85000"/>
            </a:sys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92" name="Arrow: Up-Down 91">
            <a:extLst>
              <a:ext uri="{FF2B5EF4-FFF2-40B4-BE49-F238E27FC236}">
                <a16:creationId xmlns:a16="http://schemas.microsoft.com/office/drawing/2014/main" id="{315F2F54-15B1-FC24-D726-B1B9167BED7D}"/>
              </a:ext>
            </a:extLst>
          </p:cNvPr>
          <p:cNvSpPr/>
          <p:nvPr/>
        </p:nvSpPr>
        <p:spPr>
          <a:xfrm rot="1405736">
            <a:off x="7378842" y="3698139"/>
            <a:ext cx="136893" cy="433502"/>
          </a:xfrm>
          <a:prstGeom prst="upDownArrow">
            <a:avLst/>
          </a:prstGeom>
          <a:solidFill>
            <a:sysClr val="window" lastClr="FFFFFF">
              <a:lumMod val="85000"/>
            </a:sys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93" name="Arrow: Right 92">
            <a:extLst>
              <a:ext uri="{FF2B5EF4-FFF2-40B4-BE49-F238E27FC236}">
                <a16:creationId xmlns:a16="http://schemas.microsoft.com/office/drawing/2014/main" id="{73A4B8B3-79C0-2494-0ABE-BF737A4EBA63}"/>
              </a:ext>
            </a:extLst>
          </p:cNvPr>
          <p:cNvSpPr/>
          <p:nvPr/>
        </p:nvSpPr>
        <p:spPr>
          <a:xfrm rot="16200000">
            <a:off x="9329661" y="3189254"/>
            <a:ext cx="433377" cy="262747"/>
          </a:xfrm>
          <a:prstGeom prst="rightArrow">
            <a:avLst/>
          </a:prstGeom>
          <a:solidFill>
            <a:srgbClr val="003857">
              <a:lumMod val="10000"/>
              <a:lumOff val="90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94" name="Arrow: Right 93">
            <a:extLst>
              <a:ext uri="{FF2B5EF4-FFF2-40B4-BE49-F238E27FC236}">
                <a16:creationId xmlns:a16="http://schemas.microsoft.com/office/drawing/2014/main" id="{66983CBA-5626-76FC-17D0-DC359B209DA5}"/>
              </a:ext>
            </a:extLst>
          </p:cNvPr>
          <p:cNvSpPr/>
          <p:nvPr/>
        </p:nvSpPr>
        <p:spPr>
          <a:xfrm rot="16200000">
            <a:off x="9286781" y="4128479"/>
            <a:ext cx="433377" cy="262747"/>
          </a:xfrm>
          <a:prstGeom prst="rightArrow">
            <a:avLst/>
          </a:prstGeom>
          <a:solidFill>
            <a:srgbClr val="003857">
              <a:lumMod val="25000"/>
              <a:lumOff val="75000"/>
            </a:srgb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95" name="Arrow: Curved Down 94">
            <a:extLst>
              <a:ext uri="{FF2B5EF4-FFF2-40B4-BE49-F238E27FC236}">
                <a16:creationId xmlns:a16="http://schemas.microsoft.com/office/drawing/2014/main" id="{F52C260F-08A7-F90C-59A5-C75F15562BB0}"/>
              </a:ext>
            </a:extLst>
          </p:cNvPr>
          <p:cNvSpPr/>
          <p:nvPr/>
        </p:nvSpPr>
        <p:spPr>
          <a:xfrm>
            <a:off x="8674713" y="2472418"/>
            <a:ext cx="3333268" cy="1378518"/>
          </a:xfrm>
          <a:prstGeom prst="curvedDownArrow">
            <a:avLst>
              <a:gd name="adj1" fmla="val 12757"/>
              <a:gd name="adj2" fmla="val 34731"/>
              <a:gd name="adj3" fmla="val 18781"/>
            </a:avLst>
          </a:prstGeom>
          <a:solidFill>
            <a:sysClr val="window" lastClr="FFFFFF">
              <a:lumMod val="95000"/>
            </a:sys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96" name="Arrow: Curved Down 95">
            <a:extLst>
              <a:ext uri="{FF2B5EF4-FFF2-40B4-BE49-F238E27FC236}">
                <a16:creationId xmlns:a16="http://schemas.microsoft.com/office/drawing/2014/main" id="{1334A2B4-866F-6D29-A400-139D073AB43F}"/>
              </a:ext>
            </a:extLst>
          </p:cNvPr>
          <p:cNvSpPr/>
          <p:nvPr/>
        </p:nvSpPr>
        <p:spPr>
          <a:xfrm rot="10800000">
            <a:off x="8511201" y="3883389"/>
            <a:ext cx="3333268" cy="1283924"/>
          </a:xfrm>
          <a:prstGeom prst="curvedDownArrow">
            <a:avLst>
              <a:gd name="adj1" fmla="val 10037"/>
              <a:gd name="adj2" fmla="val 27016"/>
              <a:gd name="adj3" fmla="val 25000"/>
            </a:avLst>
          </a:prstGeom>
          <a:solidFill>
            <a:sysClr val="window" lastClr="FFFFFF">
              <a:lumMod val="95000"/>
            </a:sysClr>
          </a:solidFill>
          <a:ln w="25400" cap="flat" cmpd="sng" algn="ctr">
            <a:noFill/>
            <a:prstDash val="solid"/>
          </a:ln>
          <a:effectLst/>
        </p:spPr>
        <p:txBody>
          <a:bodyPr rtlCol="0" anchor="t"/>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3857"/>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78D58B66-8E55-DBAF-03F1-538B2063A892}"/>
              </a:ext>
            </a:extLst>
          </p:cNvPr>
          <p:cNvSpPr/>
          <p:nvPr/>
        </p:nvSpPr>
        <p:spPr>
          <a:xfrm>
            <a:off x="475290" y="6603084"/>
            <a:ext cx="4586287" cy="252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Inspired by the UN SDG Partnership Guidebook (2020)</a:t>
            </a:r>
          </a:p>
        </p:txBody>
      </p:sp>
    </p:spTree>
    <p:extLst>
      <p:ext uri="{BB962C8B-B14F-4D97-AF65-F5344CB8AC3E}">
        <p14:creationId xmlns:p14="http://schemas.microsoft.com/office/powerpoint/2010/main" val="19843913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24700"/>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2. How to recognize the systemic characteristics of an issue and address them?</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3" name="Rectangle 2">
            <a:extLst>
              <a:ext uri="{FF2B5EF4-FFF2-40B4-BE49-F238E27FC236}">
                <a16:creationId xmlns:a16="http://schemas.microsoft.com/office/drawing/2014/main" id="{1D543F6D-9413-0CA0-BCCE-A09B2505FB9A}"/>
              </a:ext>
            </a:extLst>
          </p:cNvPr>
          <p:cNvSpPr/>
          <p:nvPr/>
        </p:nvSpPr>
        <p:spPr>
          <a:xfrm>
            <a:off x="702116" y="1461077"/>
            <a:ext cx="10894718" cy="4991588"/>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902353">
              <a:defRPr/>
            </a:pPr>
            <a:r>
              <a:rPr lang="en-US" sz="1400">
                <a:solidFill>
                  <a:schemeClr val="tx1"/>
                </a:solidFill>
                <a:latin typeface="Segoe UI Light" panose="020B0502040204020203" pitchFamily="34" charset="0"/>
                <a:cs typeface="Segoe UI Light" panose="020B0502040204020203" pitchFamily="34" charset="0"/>
              </a:rPr>
              <a:t>The first exercise focuses on the characteristics of systemic issues. Systemic issues are characterized by 4 overarching types of complexity: Defining, structural, societal and dynamic complexity. Each of these complexities have characteristics that may be present in a situation to a certain degree. The defining characteristics of systemic issues can be summarized as follows.</a:t>
            </a:r>
          </a:p>
          <a:p>
            <a:pPr marL="342900" indent="-342900" algn="just" defTabSz="902353">
              <a:buClr>
                <a:schemeClr val="accent1"/>
              </a:buClr>
              <a:buFont typeface="+mj-lt"/>
              <a:buAutoNum type="arabicPeriod"/>
              <a:defRPr/>
            </a:pPr>
            <a:r>
              <a:rPr lang="en-US" sz="1400" b="1">
                <a:solidFill>
                  <a:schemeClr val="tx1"/>
                </a:solidFill>
                <a:latin typeface="Segoe UI Light" panose="020B0502040204020203" pitchFamily="34" charset="0"/>
                <a:cs typeface="Segoe UI Light" panose="020B0502040204020203" pitchFamily="34" charset="0"/>
              </a:rPr>
              <a:t>Defining complexity </a:t>
            </a:r>
            <a:r>
              <a:rPr lang="en-US" sz="1400">
                <a:solidFill>
                  <a:schemeClr val="tx1"/>
                </a:solidFill>
                <a:latin typeface="Segoe UI Light" panose="020B0502040204020203" pitchFamily="34" charset="0"/>
                <a:cs typeface="Segoe UI Light" panose="020B0502040204020203" pitchFamily="34" charset="0"/>
              </a:rPr>
              <a:t>means the issue is difficult or even impossible to define. There is not one clear cause and effect to be appointed, but rather many causes and many symptoms of the issue. Some causes and symptoms may also remain unknown or unclear. Moreover, systemic issues are often linked to other (systemic) issues and therefore cannot be understood in isolation. For instance, pollution of a watershed may be linked to issues of externalization of negative consequences in the agricultural and textile industries.</a:t>
            </a:r>
          </a:p>
          <a:p>
            <a:pPr marL="342900" indent="-342900" algn="just" defTabSz="902353">
              <a:buClr>
                <a:schemeClr val="accent1"/>
              </a:buClr>
              <a:buFont typeface="+mj-lt"/>
              <a:buAutoNum type="arabicPeriod"/>
              <a:defRPr/>
            </a:pPr>
            <a:r>
              <a:rPr lang="en-US" sz="1400" b="1">
                <a:solidFill>
                  <a:schemeClr val="tx1"/>
                </a:solidFill>
                <a:latin typeface="Segoe UI Light" panose="020B0502040204020203" pitchFamily="34" charset="0"/>
                <a:cs typeface="Segoe UI Light" panose="020B0502040204020203" pitchFamily="34" charset="0"/>
              </a:rPr>
              <a:t>Structural complexity </a:t>
            </a:r>
            <a:r>
              <a:rPr lang="en-US" sz="1400">
                <a:solidFill>
                  <a:schemeClr val="tx1"/>
                </a:solidFill>
                <a:latin typeface="Segoe UI Light" panose="020B0502040204020203" pitchFamily="34" charset="0"/>
                <a:cs typeface="Segoe UI Light" panose="020B0502040204020203" pitchFamily="34" charset="0"/>
              </a:rPr>
              <a:t>is the residing of the issue on multiple geographic levels (global, regional and local) and on multiple dimensions (political, economic, social and environmental). In the water sector, this is often particularly the case. For instance, water resources are used in production processes fostering the global economy and trade, but water issues are felt on a local level. Moreover, water is in principle a common good residing in the social and environmental dimension, but is also used for economic purposes. It is therefore difficult to find the right structure to address water challenges.</a:t>
            </a:r>
          </a:p>
          <a:p>
            <a:pPr marL="342900" indent="-342900" algn="just" defTabSz="902353">
              <a:buClr>
                <a:schemeClr val="accent1"/>
              </a:buClr>
              <a:buFont typeface="+mj-lt"/>
              <a:buAutoNum type="arabicPeriod"/>
              <a:defRPr/>
            </a:pPr>
            <a:r>
              <a:rPr lang="en-US" sz="1400" b="1">
                <a:solidFill>
                  <a:schemeClr val="tx1"/>
                </a:solidFill>
                <a:latin typeface="Segoe UI Light" panose="020B0502040204020203" pitchFamily="34" charset="0"/>
                <a:cs typeface="Segoe UI Light" panose="020B0502040204020203" pitchFamily="34" charset="0"/>
              </a:rPr>
              <a:t>Societal complexity</a:t>
            </a:r>
            <a:r>
              <a:rPr lang="en-US" sz="1400">
                <a:solidFill>
                  <a:schemeClr val="tx1"/>
                </a:solidFill>
                <a:latin typeface="Segoe UI Light" panose="020B0502040204020203" pitchFamily="34" charset="0"/>
                <a:cs typeface="Segoe UI Light" panose="020B0502040204020203" pitchFamily="34" charset="0"/>
              </a:rPr>
              <a:t> means the issue involves many different values and understandings in society. One characteristic of societal complexity is the multitude of different stakeholders involved with the problem, which each hold their own values but also have their own responsibilities in addressing the problem. With systemic issues there are many competing explanations and understandings of the challenge. This often stems from uncertainties, incomplete or contradicting knowledge, but sometimes also from spreading of misinformation. There are often psychological barriers to address the issue, causing denial among stakeholders of either the problem itself or their responsibilities.</a:t>
            </a:r>
          </a:p>
          <a:p>
            <a:pPr marL="342900" indent="-342900" algn="just" defTabSz="902353">
              <a:buClr>
                <a:schemeClr val="accent1"/>
              </a:buClr>
              <a:buFont typeface="+mj-lt"/>
              <a:buAutoNum type="arabicPeriod"/>
              <a:defRPr/>
            </a:pPr>
            <a:r>
              <a:rPr lang="en-US" sz="1400" b="1">
                <a:solidFill>
                  <a:schemeClr val="tx1"/>
                </a:solidFill>
                <a:latin typeface="Segoe UI Light" panose="020B0502040204020203" pitchFamily="34" charset="0"/>
                <a:cs typeface="Segoe UI Light" panose="020B0502040204020203" pitchFamily="34" charset="0"/>
              </a:rPr>
              <a:t>Dynamic complexity </a:t>
            </a:r>
            <a:r>
              <a:rPr lang="en-US" sz="1400">
                <a:solidFill>
                  <a:schemeClr val="tx1"/>
                </a:solidFill>
                <a:latin typeface="Segoe UI Light" panose="020B0502040204020203" pitchFamily="34" charset="0"/>
                <a:cs typeface="Segoe UI Light" panose="020B0502040204020203" pitchFamily="34" charset="0"/>
              </a:rPr>
              <a:t>is the constant evolving of the issue over time and the different paces at which parts of the problem evolve. New factors, knowledge and interactions constantly emerge, often in an attempt to either solve or resist solving it, making the issue even more difficult to define. In addition, due to natural causes or stakeholder interventions, parts of the problem may evolve at different speeds – and different levels of urgency may be felt by various stakeholders.</a:t>
            </a:r>
          </a:p>
        </p:txBody>
      </p:sp>
      <p:sp>
        <p:nvSpPr>
          <p:cNvPr id="4" name="Rectangle 3">
            <a:extLst>
              <a:ext uri="{FF2B5EF4-FFF2-40B4-BE49-F238E27FC236}">
                <a16:creationId xmlns:a16="http://schemas.microsoft.com/office/drawing/2014/main" id="{DF2CF659-274D-28CA-F7F3-A7217540A174}"/>
              </a:ext>
            </a:extLst>
          </p:cNvPr>
          <p:cNvSpPr/>
          <p:nvPr/>
        </p:nvSpPr>
        <p:spPr>
          <a:xfrm>
            <a:off x="595166" y="6446945"/>
            <a:ext cx="11691938" cy="383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Sources: the </a:t>
            </a:r>
            <a:r>
              <a:rPr lang="en-US" sz="1200" i="1" err="1">
                <a:solidFill>
                  <a:schemeClr val="tx1"/>
                </a:solidFill>
              </a:rPr>
              <a:t>TransMission</a:t>
            </a:r>
            <a:r>
              <a:rPr lang="en-US" sz="1200" i="1">
                <a:solidFill>
                  <a:schemeClr val="tx1"/>
                </a:solidFill>
              </a:rPr>
              <a:t> framework by NewForesight &amp; Copernicus Institute (2023) &amp; the ‘Wicked Problems Plaza’ booklet by Rianne van </a:t>
            </a:r>
            <a:r>
              <a:rPr lang="en-US" sz="1200" i="1" err="1">
                <a:solidFill>
                  <a:schemeClr val="tx1"/>
                </a:solidFill>
              </a:rPr>
              <a:t>Asperen</a:t>
            </a:r>
            <a:r>
              <a:rPr lang="en-US" sz="1200" i="1">
                <a:solidFill>
                  <a:schemeClr val="tx1"/>
                </a:solidFill>
              </a:rPr>
              <a:t> and Rob van </a:t>
            </a:r>
            <a:r>
              <a:rPr lang="en-US" sz="1200" i="1" err="1">
                <a:solidFill>
                  <a:schemeClr val="tx1"/>
                </a:solidFill>
              </a:rPr>
              <a:t>Tulder</a:t>
            </a:r>
            <a:r>
              <a:rPr lang="en-US" sz="1200" i="1">
                <a:solidFill>
                  <a:schemeClr val="tx1"/>
                </a:solidFill>
              </a:rPr>
              <a:t> (2016)</a:t>
            </a:r>
          </a:p>
        </p:txBody>
      </p:sp>
    </p:spTree>
    <p:extLst>
      <p:ext uri="{BB962C8B-B14F-4D97-AF65-F5344CB8AC3E}">
        <p14:creationId xmlns:p14="http://schemas.microsoft.com/office/powerpoint/2010/main" val="7444615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24700"/>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2. How to recognize the systemic characteristics of an issue and address them?</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3" name="Rectangle 2">
            <a:extLst>
              <a:ext uri="{FF2B5EF4-FFF2-40B4-BE49-F238E27FC236}">
                <a16:creationId xmlns:a16="http://schemas.microsoft.com/office/drawing/2014/main" id="{1D543F6D-9413-0CA0-BCCE-A09B2505FB9A}"/>
              </a:ext>
            </a:extLst>
          </p:cNvPr>
          <p:cNvSpPr/>
          <p:nvPr/>
        </p:nvSpPr>
        <p:spPr>
          <a:xfrm>
            <a:off x="702116" y="1461077"/>
            <a:ext cx="10894718" cy="1342282"/>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902353">
              <a:defRPr/>
            </a:pPr>
            <a:r>
              <a:rPr lang="en-US" sz="1400">
                <a:solidFill>
                  <a:schemeClr val="tx1"/>
                </a:solidFill>
                <a:latin typeface="Segoe UI Light" panose="020B0502040204020203" pitchFamily="34" charset="0"/>
                <a:cs typeface="Segoe UI Light" panose="020B0502040204020203" pitchFamily="34" charset="0"/>
              </a:rPr>
              <a:t>Below you find a Quick scan to assess to what extent each of the characteristics of systemic issues apply to the water challenge you want to address. Before filling out the Quick scan, think about the context to which you will apply your approach. We then invite you to give scores to each of the 10 elements below, by adding an ‘x’ in one of the columns numbered 1-4. In this scoring, 1 means the statement is not true at all, and 4 means the statement is very true. For examples of how to score, also see the next slide. In doing this exercise, you will likely find that many of the statements are true – try to differentiate between the characteristics which are the most pressing for your challenge and those which do apply but to a lesser extent. After filling in the quick scan, identify which characteristics are most the pressing to be addressed (the 4s).</a:t>
            </a:r>
          </a:p>
        </p:txBody>
      </p:sp>
      <p:graphicFrame>
        <p:nvGraphicFramePr>
          <p:cNvPr id="2" name="Table 1">
            <a:extLst>
              <a:ext uri="{FF2B5EF4-FFF2-40B4-BE49-F238E27FC236}">
                <a16:creationId xmlns:a16="http://schemas.microsoft.com/office/drawing/2014/main" id="{48A031E4-9A38-CAC0-4F25-BCCE6928C72D}"/>
              </a:ext>
            </a:extLst>
          </p:cNvPr>
          <p:cNvGraphicFramePr>
            <a:graphicFrameLocks noGrp="1"/>
          </p:cNvGraphicFramePr>
          <p:nvPr>
            <p:extLst>
              <p:ext uri="{D42A27DB-BD31-4B8C-83A1-F6EECF244321}">
                <p14:modId xmlns:p14="http://schemas.microsoft.com/office/powerpoint/2010/main" val="3033162574"/>
              </p:ext>
            </p:extLst>
          </p:nvPr>
        </p:nvGraphicFramePr>
        <p:xfrm>
          <a:off x="702116" y="2896169"/>
          <a:ext cx="11189848" cy="3708358"/>
        </p:xfrm>
        <a:graphic>
          <a:graphicData uri="http://schemas.openxmlformats.org/drawingml/2006/table">
            <a:tbl>
              <a:tblPr firstRow="1" firstCol="1" bandRow="1"/>
              <a:tblGrid>
                <a:gridCol w="391829">
                  <a:extLst>
                    <a:ext uri="{9D8B030D-6E8A-4147-A177-3AD203B41FA5}">
                      <a16:colId xmlns:a16="http://schemas.microsoft.com/office/drawing/2014/main" val="4095953409"/>
                    </a:ext>
                  </a:extLst>
                </a:gridCol>
                <a:gridCol w="9368993">
                  <a:extLst>
                    <a:ext uri="{9D8B030D-6E8A-4147-A177-3AD203B41FA5}">
                      <a16:colId xmlns:a16="http://schemas.microsoft.com/office/drawing/2014/main" val="2930266351"/>
                    </a:ext>
                  </a:extLst>
                </a:gridCol>
                <a:gridCol w="356269">
                  <a:extLst>
                    <a:ext uri="{9D8B030D-6E8A-4147-A177-3AD203B41FA5}">
                      <a16:colId xmlns:a16="http://schemas.microsoft.com/office/drawing/2014/main" val="44975596"/>
                    </a:ext>
                  </a:extLst>
                </a:gridCol>
                <a:gridCol w="356269">
                  <a:extLst>
                    <a:ext uri="{9D8B030D-6E8A-4147-A177-3AD203B41FA5}">
                      <a16:colId xmlns:a16="http://schemas.microsoft.com/office/drawing/2014/main" val="3240833639"/>
                    </a:ext>
                  </a:extLst>
                </a:gridCol>
                <a:gridCol w="358244">
                  <a:extLst>
                    <a:ext uri="{9D8B030D-6E8A-4147-A177-3AD203B41FA5}">
                      <a16:colId xmlns:a16="http://schemas.microsoft.com/office/drawing/2014/main" val="432022377"/>
                    </a:ext>
                  </a:extLst>
                </a:gridCol>
                <a:gridCol w="358244">
                  <a:extLst>
                    <a:ext uri="{9D8B030D-6E8A-4147-A177-3AD203B41FA5}">
                      <a16:colId xmlns:a16="http://schemas.microsoft.com/office/drawing/2014/main" val="1376910778"/>
                    </a:ext>
                  </a:extLst>
                </a:gridCol>
              </a:tblGrid>
              <a:tr h="238807">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 </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lvl="0" indent="0">
                        <a:lnSpc>
                          <a:spcPct val="107000"/>
                        </a:lnSpc>
                        <a:spcAft>
                          <a:spcPts val="800"/>
                        </a:spcAft>
                        <a:buFont typeface="+mj-lt"/>
                        <a:buNone/>
                      </a:pPr>
                      <a:r>
                        <a:rPr lang="en-GB" sz="1200" b="1">
                          <a:solidFill>
                            <a:schemeClr val="bg1"/>
                          </a:solidFill>
                          <a:effectLst/>
                          <a:latin typeface="+mn-lt"/>
                          <a:ea typeface="Calibri" panose="020F0502020204030204" pitchFamily="34" charset="0"/>
                          <a:cs typeface="Times New Roman" panose="02020603050405020304" pitchFamily="18" charset="0"/>
                        </a:rPr>
                        <a:t>Defining complex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b="1">
                          <a:solidFill>
                            <a:schemeClr val="bg1"/>
                          </a:solidFill>
                          <a:effectLst/>
                          <a:latin typeface="+mn-lt"/>
                          <a:ea typeface="Calibri" panose="020F0502020204030204" pitchFamily="34" charset="0"/>
                          <a:cs typeface="Times New Roman" panose="02020603050405020304" pitchFamily="18" charset="0"/>
                        </a:rPr>
                        <a:t> 1</a:t>
                      </a:r>
                      <a:endParaRPr lang="en-GB" sz="1200" b="1">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b="1">
                          <a:solidFill>
                            <a:schemeClr val="bg1"/>
                          </a:solidFill>
                          <a:effectLst/>
                          <a:latin typeface="+mn-lt"/>
                          <a:ea typeface="Calibri" panose="020F0502020204030204" pitchFamily="34" charset="0"/>
                          <a:cs typeface="Times New Roman" panose="02020603050405020304" pitchFamily="18" charset="0"/>
                        </a:rPr>
                        <a:t>2</a:t>
                      </a:r>
                      <a:endParaRPr lang="en-GB" sz="1200" b="1">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GB" sz="1200" b="1">
                          <a:solidFill>
                            <a:schemeClr val="bg1"/>
                          </a:solidFill>
                          <a:effectLst/>
                          <a:latin typeface="+mn-lt"/>
                          <a:ea typeface="Calibri" panose="020F0502020204030204" pitchFamily="34" charset="0"/>
                          <a:cs typeface="Times New Roman" panose="02020603050405020304" pitchFamily="18" charset="0"/>
                        </a:rPr>
                        <a:t>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b="1">
                          <a:solidFill>
                            <a:schemeClr val="bg1"/>
                          </a:solidFill>
                          <a:effectLst/>
                          <a:latin typeface="+mn-lt"/>
                          <a:ea typeface="Calibri" panose="020F0502020204030204" pitchFamily="34" charset="0"/>
                          <a:cs typeface="Times New Roman" panose="02020603050405020304" pitchFamily="18" charset="0"/>
                        </a:rPr>
                        <a:t>4</a:t>
                      </a:r>
                      <a:endParaRPr lang="en-GB" sz="1200" b="1">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92141358"/>
                  </a:ext>
                </a:extLst>
              </a:tr>
              <a:tr h="235355">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1</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cause:</a:t>
                      </a:r>
                      <a:r>
                        <a:rPr lang="en-GB" sz="1200">
                          <a:effectLst/>
                          <a:latin typeface="+mn-lt"/>
                          <a:ea typeface="Calibri" panose="020F0502020204030204" pitchFamily="34" charset="0"/>
                          <a:cs typeface="Times New Roman" panose="02020603050405020304" pitchFamily="18" charset="0"/>
                        </a:rPr>
                        <a:t> There are many root causes to the problem, and/or some of the root causes are still unknow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743865658"/>
                  </a:ext>
                </a:extLst>
              </a:tr>
              <a:tr h="238807">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2</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symptom: </a:t>
                      </a:r>
                      <a:r>
                        <a:rPr lang="en-GB" sz="1200">
                          <a:effectLst/>
                          <a:latin typeface="+mn-lt"/>
                          <a:ea typeface="Calibri" panose="020F0502020204030204" pitchFamily="34" charset="0"/>
                          <a:cs typeface="Times New Roman" panose="02020603050405020304" pitchFamily="18" charset="0"/>
                        </a:rPr>
                        <a:t>There are many (large-scale) symptoms of the problem, and/or some of the symptoms are still unknow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096851104"/>
                  </a:ext>
                </a:extLst>
              </a:tr>
              <a:tr h="238807">
                <a:tc>
                  <a:txBody>
                    <a:bodyPr/>
                    <a:lstStyle/>
                    <a:p>
                      <a:pPr algn="ct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Interconnectedness:</a:t>
                      </a:r>
                      <a:r>
                        <a:rPr lang="en-GB" sz="1200">
                          <a:effectLst/>
                          <a:latin typeface="+mn-lt"/>
                          <a:ea typeface="Calibri" panose="020F0502020204030204" pitchFamily="34" charset="0"/>
                          <a:cs typeface="Times New Roman" panose="02020603050405020304" pitchFamily="18" charset="0"/>
                        </a:rPr>
                        <a:t> The problem is related to many other problem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922280786"/>
                  </a:ext>
                </a:extLst>
              </a:tr>
              <a:tr h="238807">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 </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lvl="0" indent="0">
                        <a:lnSpc>
                          <a:spcPct val="107000"/>
                        </a:lnSpc>
                        <a:spcAft>
                          <a:spcPts val="800"/>
                        </a:spcAft>
                        <a:buFont typeface="+mj-lt"/>
                        <a:buNone/>
                      </a:pPr>
                      <a:r>
                        <a:rPr lang="en-GB" sz="1200" b="1">
                          <a:solidFill>
                            <a:schemeClr val="bg1"/>
                          </a:solidFill>
                          <a:effectLst/>
                          <a:latin typeface="+mn-lt"/>
                          <a:ea typeface="Calibri" panose="020F0502020204030204" pitchFamily="34" charset="0"/>
                          <a:cs typeface="Times New Roman" panose="02020603050405020304" pitchFamily="18" charset="0"/>
                        </a:rPr>
                        <a:t>Structural complex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en-US" sz="1200" kern="1200">
                          <a:solidFill>
                            <a:schemeClr val="tx1"/>
                          </a:solidFill>
                          <a:effectLst/>
                          <a:latin typeface="+mn-lt"/>
                          <a:ea typeface="Calibri" panose="020F0502020204030204" pitchFamily="34" charset="0"/>
                          <a:cs typeface="Times New Roman" panose="02020603050405020304" pitchFamily="18" charset="0"/>
                        </a:rPr>
                        <a:t> </a:t>
                      </a:r>
                      <a:endParaRPr lang="en-GB" sz="1200" kern="12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481459674"/>
                  </a:ext>
                </a:extLst>
              </a:tr>
              <a:tr h="238807">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4</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level</a:t>
                      </a:r>
                      <a:r>
                        <a:rPr lang="en-GB" sz="1200">
                          <a:effectLst/>
                          <a:latin typeface="+mn-lt"/>
                          <a:ea typeface="Calibri" panose="020F0502020204030204" pitchFamily="34" charset="0"/>
                          <a:cs typeface="Times New Roman" panose="02020603050405020304" pitchFamily="18" charset="0"/>
                        </a:rPr>
                        <a:t>: The problem prevails on various different levels – global, regional and loca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054544808"/>
                  </a:ext>
                </a:extLst>
              </a:tr>
              <a:tr h="238807">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5</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dimensional: </a:t>
                      </a:r>
                      <a:r>
                        <a:rPr lang="en-GB" sz="1200">
                          <a:effectLst/>
                          <a:latin typeface="+mn-lt"/>
                          <a:ea typeface="Calibri" panose="020F0502020204030204" pitchFamily="34" charset="0"/>
                          <a:cs typeface="Times New Roman" panose="02020603050405020304" pitchFamily="18" charset="0"/>
                        </a:rPr>
                        <a:t>The problem prevails on various dimensions – political, economic, social and environmenta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567585657"/>
                  </a:ext>
                </a:extLst>
              </a:tr>
              <a:tr h="238807">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 </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lvl="0" indent="0">
                        <a:lnSpc>
                          <a:spcPct val="107000"/>
                        </a:lnSpc>
                        <a:spcAft>
                          <a:spcPts val="800"/>
                        </a:spcAft>
                        <a:buFont typeface="+mj-lt"/>
                        <a:buNone/>
                      </a:pPr>
                      <a:r>
                        <a:rPr lang="en-GB" sz="1200" b="1">
                          <a:solidFill>
                            <a:schemeClr val="bg1"/>
                          </a:solidFill>
                          <a:effectLst/>
                          <a:latin typeface="+mn-lt"/>
                          <a:ea typeface="Calibri" panose="020F0502020204030204" pitchFamily="34" charset="0"/>
                          <a:cs typeface="Times New Roman" panose="02020603050405020304" pitchFamily="18" charset="0"/>
                        </a:rPr>
                        <a:t>Societal complex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3307459101"/>
                  </a:ext>
                </a:extLst>
              </a:tr>
              <a:tr h="220986">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6</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stakeholder: </a:t>
                      </a:r>
                      <a:r>
                        <a:rPr lang="en-GB" sz="1200">
                          <a:effectLst/>
                          <a:latin typeface="+mn-lt"/>
                          <a:ea typeface="Calibri" panose="020F0502020204030204" pitchFamily="34" charset="0"/>
                          <a:cs typeface="Times New Roman" panose="02020603050405020304" pitchFamily="18" charset="0"/>
                        </a:rPr>
                        <a:t>There are many different stakeholders which influence or are influenced by the problem, which each hold their own valu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604201899"/>
                  </a:ext>
                </a:extLst>
              </a:tr>
              <a:tr h="431098">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7</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Different understandings: </a:t>
                      </a:r>
                      <a:r>
                        <a:rPr lang="en-GB" sz="1200">
                          <a:effectLst/>
                          <a:latin typeface="+mn-lt"/>
                          <a:ea typeface="Calibri" panose="020F0502020204030204" pitchFamily="34" charset="0"/>
                          <a:cs typeface="Times New Roman" panose="02020603050405020304" pitchFamily="18" charset="0"/>
                        </a:rPr>
                        <a:t>There are many competing explanations and understandings of the problem among different stakeholders, in part due to incomplete or contradicting knowledg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000381411"/>
                  </a:ext>
                </a:extLst>
              </a:tr>
              <a:tr h="243908">
                <a:tc>
                  <a:txBody>
                    <a:bodyPr/>
                    <a:lstStyle/>
                    <a:p>
                      <a:pPr algn="ct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Denial: </a:t>
                      </a:r>
                      <a:r>
                        <a:rPr lang="en-GB" sz="1200">
                          <a:effectLst/>
                          <a:latin typeface="+mn-lt"/>
                          <a:ea typeface="Calibri" panose="020F0502020204030204" pitchFamily="34" charset="0"/>
                          <a:cs typeface="Times New Roman" panose="02020603050405020304" pitchFamily="18" charset="0"/>
                        </a:rPr>
                        <a:t>Many stakeholders deny either the existence of the problem itself or their responsibility to address i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623935132"/>
                  </a:ext>
                </a:extLst>
              </a:tr>
              <a:tr h="238807">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 </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lvl="0" indent="0">
                        <a:lnSpc>
                          <a:spcPct val="107000"/>
                        </a:lnSpc>
                        <a:spcAft>
                          <a:spcPts val="800"/>
                        </a:spcAft>
                        <a:buFont typeface="+mj-lt"/>
                        <a:buNone/>
                      </a:pPr>
                      <a:r>
                        <a:rPr lang="en-GB" sz="1200" b="1">
                          <a:solidFill>
                            <a:schemeClr val="bg1"/>
                          </a:solidFill>
                          <a:effectLst/>
                          <a:latin typeface="+mn-lt"/>
                          <a:ea typeface="Calibri" panose="020F0502020204030204" pitchFamily="34" charset="0"/>
                          <a:cs typeface="Times New Roman" panose="02020603050405020304" pitchFamily="18" charset="0"/>
                        </a:rPr>
                        <a:t>Dynamic complex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311641314"/>
                  </a:ext>
                </a:extLst>
              </a:tr>
              <a:tr h="235457">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9</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a:effectLst/>
                          <a:latin typeface="+mn-lt"/>
                          <a:ea typeface="Calibri" panose="020F0502020204030204" pitchFamily="34" charset="0"/>
                          <a:cs typeface="Times New Roman" panose="02020603050405020304" pitchFamily="18" charset="0"/>
                        </a:rPr>
                        <a:t>Constantly evolving: </a:t>
                      </a:r>
                      <a:r>
                        <a:rPr lang="en-GB" sz="1200">
                          <a:effectLst/>
                          <a:latin typeface="+mn-lt"/>
                          <a:ea typeface="Calibri" panose="020F0502020204030204" pitchFamily="34" charset="0"/>
                          <a:cs typeface="Times New Roman" panose="02020603050405020304" pitchFamily="18" charset="0"/>
                        </a:rPr>
                        <a:t>The problem is constantly evolving with new emerging factors, knowledge, and interaction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266928823"/>
                  </a:ext>
                </a:extLst>
              </a:tr>
              <a:tr h="431098">
                <a:tc>
                  <a:txBody>
                    <a:bodyPr/>
                    <a:lstStyle/>
                    <a:p>
                      <a:pPr algn="ct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a:effectLst/>
                          <a:latin typeface="+mn-lt"/>
                          <a:ea typeface="Calibri" panose="020F0502020204030204" pitchFamily="34" charset="0"/>
                          <a:cs typeface="Times New Roman" panose="02020603050405020304" pitchFamily="18" charset="0"/>
                        </a:rPr>
                        <a:t>Multi-paced: </a:t>
                      </a:r>
                      <a:r>
                        <a:rPr lang="en-GB" sz="1200">
                          <a:effectLst/>
                          <a:latin typeface="+mn-lt"/>
                          <a:ea typeface="Calibri" panose="020F0502020204030204" pitchFamily="34" charset="0"/>
                          <a:cs typeface="Times New Roman" panose="02020603050405020304" pitchFamily="18" charset="0"/>
                        </a:rPr>
                        <a:t>Different parts of the problem (both causes and symptoms) evolve at different speeds, and varying levels of urgency are felt to address the proble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C3"/>
                    </a:solidFill>
                  </a:tcPr>
                </a:tc>
                <a:tc>
                  <a:txBody>
                    <a:bodyPr/>
                    <a:lstStyle/>
                    <a:p>
                      <a:pPr algn="ctr">
                        <a:lnSpc>
                          <a:spcPct val="107000"/>
                        </a:lnSpc>
                        <a:spcAft>
                          <a:spcPts val="800"/>
                        </a:spcAft>
                      </a:pP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550854469"/>
                  </a:ext>
                </a:extLst>
              </a:tr>
            </a:tbl>
          </a:graphicData>
        </a:graphic>
      </p:graphicFrame>
    </p:spTree>
    <p:extLst>
      <p:ext uri="{BB962C8B-B14F-4D97-AF65-F5344CB8AC3E}">
        <p14:creationId xmlns:p14="http://schemas.microsoft.com/office/powerpoint/2010/main" val="381163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24700"/>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2. How to recognize the systemic characteristics of an issue and address them?</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3" name="Rectangle 2">
            <a:extLst>
              <a:ext uri="{FF2B5EF4-FFF2-40B4-BE49-F238E27FC236}">
                <a16:creationId xmlns:a16="http://schemas.microsoft.com/office/drawing/2014/main" id="{1D543F6D-9413-0CA0-BCCE-A09B2505FB9A}"/>
              </a:ext>
            </a:extLst>
          </p:cNvPr>
          <p:cNvSpPr/>
          <p:nvPr/>
        </p:nvSpPr>
        <p:spPr>
          <a:xfrm>
            <a:off x="702116" y="1461077"/>
            <a:ext cx="10894718" cy="928162"/>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902353">
              <a:defRPr/>
            </a:pPr>
            <a:r>
              <a:rPr lang="en-GB" sz="1400">
                <a:solidFill>
                  <a:schemeClr val="tx1"/>
                </a:solidFill>
                <a:latin typeface="Segoe UI Light" panose="020B0502040204020203" pitchFamily="34" charset="0"/>
                <a:cs typeface="Segoe UI Light" panose="020B0502040204020203" pitchFamily="34" charset="0"/>
              </a:rPr>
              <a:t>Below are examples of how to score on the various characteristics.</a:t>
            </a:r>
          </a:p>
        </p:txBody>
      </p:sp>
      <p:graphicFrame>
        <p:nvGraphicFramePr>
          <p:cNvPr id="2" name="Table 1">
            <a:extLst>
              <a:ext uri="{FF2B5EF4-FFF2-40B4-BE49-F238E27FC236}">
                <a16:creationId xmlns:a16="http://schemas.microsoft.com/office/drawing/2014/main" id="{48A031E4-9A38-CAC0-4F25-BCCE6928C72D}"/>
              </a:ext>
            </a:extLst>
          </p:cNvPr>
          <p:cNvGraphicFramePr>
            <a:graphicFrameLocks noGrp="1"/>
          </p:cNvGraphicFramePr>
          <p:nvPr>
            <p:extLst>
              <p:ext uri="{D42A27DB-BD31-4B8C-83A1-F6EECF244321}">
                <p14:modId xmlns:p14="http://schemas.microsoft.com/office/powerpoint/2010/main" val="1476081022"/>
              </p:ext>
            </p:extLst>
          </p:nvPr>
        </p:nvGraphicFramePr>
        <p:xfrm>
          <a:off x="702116" y="1838908"/>
          <a:ext cx="11286683" cy="4498150"/>
        </p:xfrm>
        <a:graphic>
          <a:graphicData uri="http://schemas.openxmlformats.org/drawingml/2006/table">
            <a:tbl>
              <a:tblPr firstRow="1" firstCol="1" bandRow="1"/>
              <a:tblGrid>
                <a:gridCol w="416983">
                  <a:extLst>
                    <a:ext uri="{9D8B030D-6E8A-4147-A177-3AD203B41FA5}">
                      <a16:colId xmlns:a16="http://schemas.microsoft.com/office/drawing/2014/main" val="4095953409"/>
                    </a:ext>
                  </a:extLst>
                </a:gridCol>
                <a:gridCol w="1730047">
                  <a:extLst>
                    <a:ext uri="{9D8B030D-6E8A-4147-A177-3AD203B41FA5}">
                      <a16:colId xmlns:a16="http://schemas.microsoft.com/office/drawing/2014/main" val="2930266351"/>
                    </a:ext>
                  </a:extLst>
                </a:gridCol>
                <a:gridCol w="4415254">
                  <a:extLst>
                    <a:ext uri="{9D8B030D-6E8A-4147-A177-3AD203B41FA5}">
                      <a16:colId xmlns:a16="http://schemas.microsoft.com/office/drawing/2014/main" val="44975596"/>
                    </a:ext>
                  </a:extLst>
                </a:gridCol>
                <a:gridCol w="4724399">
                  <a:extLst>
                    <a:ext uri="{9D8B030D-6E8A-4147-A177-3AD203B41FA5}">
                      <a16:colId xmlns:a16="http://schemas.microsoft.com/office/drawing/2014/main" val="1376910778"/>
                    </a:ext>
                  </a:extLst>
                </a:gridCol>
              </a:tblGrid>
              <a:tr h="127434">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 </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lvl="0" indent="0">
                        <a:lnSpc>
                          <a:spcPct val="107000"/>
                        </a:lnSpc>
                        <a:spcAft>
                          <a:spcPts val="800"/>
                        </a:spcAft>
                        <a:buFont typeface="+mj-lt"/>
                        <a:buNone/>
                      </a:pPr>
                      <a:r>
                        <a:rPr lang="en-GB" sz="1200" b="1">
                          <a:solidFill>
                            <a:schemeClr val="bg1"/>
                          </a:solidFill>
                          <a:effectLst/>
                          <a:latin typeface="+mn-lt"/>
                          <a:ea typeface="Calibri" panose="020F0502020204030204" pitchFamily="34" charset="0"/>
                          <a:cs typeface="Times New Roman" panose="02020603050405020304" pitchFamily="18" charset="0"/>
                        </a:rPr>
                        <a:t>Defining complex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b="1">
                          <a:solidFill>
                            <a:schemeClr val="bg1"/>
                          </a:solidFill>
                          <a:effectLst/>
                          <a:latin typeface="+mn-lt"/>
                          <a:ea typeface="Calibri" panose="020F0502020204030204" pitchFamily="34" charset="0"/>
                          <a:cs typeface="Times New Roman" panose="02020603050405020304" pitchFamily="18" charset="0"/>
                        </a:rPr>
                        <a:t> 1</a:t>
                      </a:r>
                      <a:endParaRPr lang="en-GB" sz="1200" b="1">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b="1">
                          <a:solidFill>
                            <a:schemeClr val="bg1"/>
                          </a:solidFill>
                          <a:effectLst/>
                          <a:latin typeface="+mn-lt"/>
                          <a:ea typeface="Calibri" panose="020F0502020204030204" pitchFamily="34" charset="0"/>
                          <a:cs typeface="Times New Roman" panose="02020603050405020304" pitchFamily="18" charset="0"/>
                        </a:rPr>
                        <a:t>4</a:t>
                      </a:r>
                      <a:endParaRPr lang="en-GB" sz="1200" b="1">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92141358"/>
                  </a:ext>
                </a:extLst>
              </a:tr>
              <a:tr h="265001">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1</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cause</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r>
                        <a:rPr lang="en-US" sz="1200" kern="1200">
                          <a:solidFill>
                            <a:schemeClr val="tx1"/>
                          </a:solidFill>
                          <a:effectLst/>
                          <a:latin typeface="+mn-lt"/>
                          <a:ea typeface="+mn-ea"/>
                          <a:cs typeface="+mn-cs"/>
                        </a:rPr>
                        <a:t>There is no access to potable water due to the lack of a water pipe system</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200"/>
                        <a:t>Droughts are occurring because water is over-extracted for use in various sectors, there are no regulations, and the climate is changing</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743865658"/>
                  </a:ext>
                </a:extLst>
              </a:tr>
              <a:tr h="265001">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2</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symptom</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 textile factory discharges its wastewater into a nearby river, which causes the river to be polluted with hazardous chemicals</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GB" sz="1200">
                          <a:effectLst/>
                          <a:latin typeface="+mn-lt"/>
                          <a:ea typeface="Calibri" panose="020F0502020204030204" pitchFamily="34" charset="0"/>
                          <a:cs typeface="Times New Roman" panose="02020603050405020304" pitchFamily="18" charset="0"/>
                        </a:rPr>
                        <a:t>Groundwater depletion causes water shortages, deterioration of water quality, and land subsidence leading to more flooding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096851104"/>
                  </a:ext>
                </a:extLst>
              </a:tr>
              <a:tr h="265001">
                <a:tc>
                  <a:txBody>
                    <a:bodyPr/>
                    <a:lstStyle/>
                    <a:p>
                      <a:pPr algn="ct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Interconnectedness</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GB" sz="1200">
                          <a:effectLst/>
                          <a:latin typeface="+mn-lt"/>
                          <a:ea typeface="Calibri" panose="020F0502020204030204" pitchFamily="34" charset="0"/>
                          <a:cs typeface="Times New Roman" panose="02020603050405020304" pitchFamily="18" charset="0"/>
                        </a:rPr>
                        <a:t>A lack of water storage units causes inadequate water resources for a local popul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GB" sz="1200">
                          <a:effectLst/>
                          <a:latin typeface="+mn-lt"/>
                          <a:ea typeface="Calibri" panose="020F0502020204030204" pitchFamily="34" charset="0"/>
                          <a:cs typeface="Times New Roman" panose="02020603050405020304" pitchFamily="18" charset="0"/>
                        </a:rPr>
                        <a:t>Agriculture and floriculture are both water- and energy-intensive, and there are no renewable, water-efficient energy sources for these sector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922280786"/>
                  </a:ext>
                </a:extLst>
              </a:tr>
              <a:tr h="127434">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 </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lvl="0" indent="0">
                        <a:lnSpc>
                          <a:spcPct val="107000"/>
                        </a:lnSpc>
                        <a:spcAft>
                          <a:spcPts val="800"/>
                        </a:spcAft>
                        <a:buFont typeface="+mj-lt"/>
                        <a:buNone/>
                      </a:pPr>
                      <a:r>
                        <a:rPr lang="en-GB" sz="1200" b="1">
                          <a:solidFill>
                            <a:schemeClr val="bg1"/>
                          </a:solidFill>
                          <a:effectLst/>
                          <a:latin typeface="+mn-lt"/>
                          <a:ea typeface="Calibri" panose="020F0502020204030204" pitchFamily="34" charset="0"/>
                          <a:cs typeface="Times New Roman" panose="02020603050405020304" pitchFamily="18" charset="0"/>
                        </a:rPr>
                        <a:t>Structural complex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en-US" sz="1200" kern="1200">
                          <a:solidFill>
                            <a:schemeClr val="tx1"/>
                          </a:solidFill>
                          <a:effectLst/>
                          <a:latin typeface="+mn-lt"/>
                          <a:ea typeface="Calibri" panose="020F0502020204030204" pitchFamily="34" charset="0"/>
                          <a:cs typeface="Times New Roman" panose="02020603050405020304" pitchFamily="18" charset="0"/>
                        </a:rPr>
                        <a:t> </a:t>
                      </a:r>
                      <a:endParaRPr lang="en-GB" sz="1200" kern="12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481459674"/>
                  </a:ext>
                </a:extLst>
              </a:tr>
              <a:tr h="265001">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4</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level</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r>
                        <a:rPr lang="en-GB" sz="1200">
                          <a:effectLst/>
                          <a:latin typeface="+mn-lt"/>
                          <a:ea typeface="Calibri" panose="020F0502020204030204" pitchFamily="34" charset="0"/>
                          <a:cs typeface="Times New Roman" panose="02020603050405020304" pitchFamily="18" charset="0"/>
                        </a:rPr>
                        <a:t>The drying up of a well causes a lack of drinking water and sanitation services for the local popul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GB" sz="1200">
                          <a:effectLst/>
                          <a:latin typeface="+mn-lt"/>
                          <a:ea typeface="Calibri" panose="020F0502020204030204" pitchFamily="34" charset="0"/>
                          <a:cs typeface="Times New Roman" panose="02020603050405020304" pitchFamily="18" charset="0"/>
                        </a:rPr>
                        <a:t>A lack of clean drinking water from the tap on local and regional levels causes the consumption of bottled water and global plastic pollu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054544808"/>
                  </a:ext>
                </a:extLst>
              </a:tr>
              <a:tr h="265001">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5</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dimensional</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GB" sz="1200">
                          <a:effectLst/>
                          <a:latin typeface="+mn-lt"/>
                          <a:ea typeface="Calibri" panose="020F0502020204030204" pitchFamily="34" charset="0"/>
                          <a:cs typeface="Times New Roman" panose="02020603050405020304" pitchFamily="18" charset="0"/>
                        </a:rPr>
                        <a:t>A lack of hydroelectric energy creation particularly affects the economy in a certain reg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US" sz="1200" i="1">
                          <a:effectLst/>
                          <a:latin typeface="+mn-lt"/>
                          <a:ea typeface="Calibri" panose="020F0502020204030204" pitchFamily="34" charset="0"/>
                          <a:cs typeface="Times New Roman" panose="02020603050405020304" pitchFamily="18" charset="0"/>
                        </a:rPr>
                        <a:t> </a:t>
                      </a:r>
                      <a:r>
                        <a:rPr lang="en-GB" sz="1200" i="0">
                          <a:effectLst/>
                          <a:latin typeface="+mn-lt"/>
                          <a:ea typeface="Calibri" panose="020F0502020204030204" pitchFamily="34" charset="0"/>
                          <a:cs typeface="Times New Roman" panose="02020603050405020304" pitchFamily="18" charset="0"/>
                        </a:rPr>
                        <a:t>Lithium mining for electric vehicles is seen as a political and economic success, while it has negative social and environmental effec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567585657"/>
                  </a:ext>
                </a:extLst>
              </a:tr>
              <a:tr h="127434">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 </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lvl="0" indent="0">
                        <a:lnSpc>
                          <a:spcPct val="107000"/>
                        </a:lnSpc>
                        <a:spcAft>
                          <a:spcPts val="800"/>
                        </a:spcAft>
                        <a:buFont typeface="+mj-lt"/>
                        <a:buNone/>
                      </a:pPr>
                      <a:r>
                        <a:rPr lang="en-GB" sz="1200" b="1">
                          <a:solidFill>
                            <a:schemeClr val="bg1"/>
                          </a:solidFill>
                          <a:effectLst/>
                          <a:latin typeface="+mn-lt"/>
                          <a:ea typeface="Calibri" panose="020F0502020204030204" pitchFamily="34" charset="0"/>
                          <a:cs typeface="Times New Roman" panose="02020603050405020304" pitchFamily="18" charset="0"/>
                        </a:rPr>
                        <a:t>Societal complex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i="1">
                          <a:effectLst/>
                          <a:latin typeface="+mn-lt"/>
                          <a:ea typeface="Calibri" panose="020F0502020204030204" pitchFamily="34" charset="0"/>
                          <a:cs typeface="Times New Roman" panose="02020603050405020304" pitchFamily="18" charset="0"/>
                        </a:rPr>
                        <a:t> </a:t>
                      </a:r>
                      <a:endParaRPr lang="en-GB" sz="1200" i="1">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3307459101"/>
                  </a:ext>
                </a:extLst>
              </a:tr>
              <a:tr h="265001">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6</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Multi-stakeholder</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Inefficient agricultural practices which affect and involve mainly stakeholders in the agricultural sector</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GB" sz="1200" i="0">
                          <a:effectLst/>
                          <a:latin typeface="+mn-lt"/>
                          <a:ea typeface="Calibri" panose="020F0502020204030204" pitchFamily="34" charset="0"/>
                          <a:cs typeface="Times New Roman" panose="02020603050405020304" pitchFamily="18" charset="0"/>
                        </a:rPr>
                        <a:t>Many stakeholders from up- and downstream countries are affected by and involved in the decision whether or not to build a dam</a:t>
                      </a:r>
                      <a:endParaRPr lang="en-GB" sz="1200" i="1">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604201899"/>
                  </a:ext>
                </a:extLst>
              </a:tr>
              <a:tr h="276825">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7</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Different understandings</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ll stakeholder groups living and operating near a lake understand the lake is depleted due to overextraction and climate change</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GB" sz="1200" i="0">
                          <a:effectLst/>
                          <a:latin typeface="+mn-lt"/>
                          <a:ea typeface="Calibri" panose="020F0502020204030204" pitchFamily="34" charset="0"/>
                          <a:cs typeface="Times New Roman" panose="02020603050405020304" pitchFamily="18" charset="0"/>
                        </a:rPr>
                        <a:t>Various research shows different water footprints for certain sectors, making it unclear where most efficiencies need to take plac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000381411"/>
                  </a:ext>
                </a:extLst>
              </a:tr>
              <a:tr h="265001">
                <a:tc>
                  <a:txBody>
                    <a:bodyPr/>
                    <a:lstStyle/>
                    <a:p>
                      <a:pPr algn="ct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Denial</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All stakeholder groups living and operating near a depleted lake acknowledge the role of overextraction and their own part in it</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GB" sz="1200" i="0">
                          <a:effectLst/>
                          <a:latin typeface="+mn-lt"/>
                          <a:ea typeface="Calibri" panose="020F0502020204030204" pitchFamily="34" charset="0"/>
                          <a:cs typeface="Times New Roman" panose="02020603050405020304" pitchFamily="18" charset="0"/>
                        </a:rPr>
                        <a:t>Various actors deny the pollution of a river is because of human activity and/or deny their own role in i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623935132"/>
                  </a:ext>
                </a:extLst>
              </a:tr>
              <a:tr h="127434">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 </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lvl="0" indent="0">
                        <a:lnSpc>
                          <a:spcPct val="107000"/>
                        </a:lnSpc>
                        <a:spcAft>
                          <a:spcPts val="800"/>
                        </a:spcAft>
                        <a:buFont typeface="+mj-lt"/>
                        <a:buNone/>
                      </a:pPr>
                      <a:r>
                        <a:rPr lang="en-GB" sz="1200" b="1">
                          <a:solidFill>
                            <a:schemeClr val="bg1"/>
                          </a:solidFill>
                          <a:effectLst/>
                          <a:latin typeface="+mn-lt"/>
                          <a:ea typeface="Calibri" panose="020F0502020204030204" pitchFamily="34" charset="0"/>
                          <a:cs typeface="Times New Roman" panose="02020603050405020304" pitchFamily="18" charset="0"/>
                        </a:rPr>
                        <a:t>Dynamic complex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en-US" sz="1200" i="1">
                          <a:effectLst/>
                          <a:latin typeface="+mn-lt"/>
                          <a:ea typeface="Calibri" panose="020F0502020204030204" pitchFamily="34" charset="0"/>
                          <a:cs typeface="Times New Roman" panose="02020603050405020304" pitchFamily="18" charset="0"/>
                        </a:rPr>
                        <a:t> </a:t>
                      </a:r>
                      <a:endParaRPr lang="en-GB" sz="1200" i="1">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311641314"/>
                  </a:ext>
                </a:extLst>
              </a:tr>
              <a:tr h="265001">
                <a:tc>
                  <a:txBody>
                    <a:bodyPr/>
                    <a:lstStyle/>
                    <a:p>
                      <a:pPr algn="ctr">
                        <a:lnSpc>
                          <a:spcPct val="107000"/>
                        </a:lnSpc>
                        <a:spcAft>
                          <a:spcPts val="800"/>
                        </a:spcAft>
                      </a:pPr>
                      <a:r>
                        <a:rPr lang="en-US" sz="1200" b="1">
                          <a:effectLst/>
                          <a:latin typeface="+mn-lt"/>
                          <a:ea typeface="Calibri" panose="020F0502020204030204" pitchFamily="34" charset="0"/>
                          <a:cs typeface="Times New Roman" panose="02020603050405020304" pitchFamily="18" charset="0"/>
                        </a:rPr>
                        <a:t>9</a:t>
                      </a:r>
                      <a:endParaRPr lang="en-GB" sz="1200" b="1">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a:effectLst/>
                          <a:latin typeface="+mn-lt"/>
                          <a:ea typeface="Calibri" panose="020F0502020204030204" pitchFamily="34" charset="0"/>
                          <a:cs typeface="Times New Roman" panose="02020603050405020304" pitchFamily="18" charset="0"/>
                        </a:rPr>
                        <a:t>Constantly evolving</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200">
                          <a:effectLst/>
                          <a:latin typeface="+mn-lt"/>
                          <a:ea typeface="Calibri" panose="020F0502020204030204" pitchFamily="34" charset="0"/>
                          <a:cs typeface="Times New Roman" panose="02020603050405020304" pitchFamily="18" charset="0"/>
                        </a:rPr>
                        <a:t> A shortage of clean drinking water has remained in a region for 50+ years</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GB" sz="1200" i="0">
                          <a:effectLst/>
                          <a:latin typeface="+mn-lt"/>
                          <a:ea typeface="Calibri" panose="020F0502020204030204" pitchFamily="34" charset="0"/>
                          <a:cs typeface="Times New Roman" panose="02020603050405020304" pitchFamily="18" charset="0"/>
                        </a:rPr>
                        <a:t>The pollution of a river constantly evolves as new polluters, laws and regulations, innovations and knowledge on the effects emerg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266928823"/>
                  </a:ext>
                </a:extLst>
              </a:tr>
              <a:tr h="379978">
                <a:tc>
                  <a:txBody>
                    <a:bodyPr/>
                    <a:lstStyle/>
                    <a:p>
                      <a:pPr algn="ctr">
                        <a:lnSpc>
                          <a:spcPct val="107000"/>
                        </a:lnSpc>
                        <a:spcAft>
                          <a:spcPts val="800"/>
                        </a:spcAft>
                      </a:pPr>
                      <a:r>
                        <a:rPr lang="en-GB" sz="1200" b="1">
                          <a:effectLst/>
                          <a:latin typeface="+mn-lt"/>
                          <a:ea typeface="Calibri" panose="020F0502020204030204" pitchFamily="34" charset="0"/>
                          <a:cs typeface="Times New Roman" panose="02020603050405020304" pitchFamily="18"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a:effectLst/>
                          <a:latin typeface="+mn-lt"/>
                          <a:ea typeface="Calibri" panose="020F0502020204030204" pitchFamily="34" charset="0"/>
                          <a:cs typeface="Times New Roman" panose="02020603050405020304" pitchFamily="18" charset="0"/>
                        </a:rPr>
                        <a:t>Multi-paced</a:t>
                      </a:r>
                      <a:endParaRPr lang="en-GB" sz="12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GB" sz="1200">
                          <a:effectLst/>
                          <a:latin typeface="+mn-lt"/>
                          <a:ea typeface="Calibri" panose="020F0502020204030204" pitchFamily="34" charset="0"/>
                          <a:cs typeface="Times New Roman" panose="02020603050405020304" pitchFamily="18" charset="0"/>
                        </a:rPr>
                        <a:t>As usable water in a region declines, stakeholders’ concerns grow at the same rat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a:lnSpc>
                          <a:spcPct val="107000"/>
                        </a:lnSpc>
                        <a:spcAft>
                          <a:spcPts val="800"/>
                        </a:spcAft>
                      </a:pPr>
                      <a:r>
                        <a:rPr lang="en-GB" sz="1200" i="0">
                          <a:effectLst/>
                          <a:latin typeface="+mn-lt"/>
                          <a:ea typeface="Calibri" panose="020F0502020204030204" pitchFamily="34" charset="0"/>
                          <a:cs typeface="Times New Roman" panose="02020603050405020304" pitchFamily="18" charset="0"/>
                        </a:rPr>
                        <a:t>Political conflict over water distribution in a certain region is escalating quickly, while the water resource is declining more steadil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550854469"/>
                  </a:ext>
                </a:extLst>
              </a:tr>
            </a:tbl>
          </a:graphicData>
        </a:graphic>
      </p:graphicFrame>
    </p:spTree>
    <p:extLst>
      <p:ext uri="{BB962C8B-B14F-4D97-AF65-F5344CB8AC3E}">
        <p14:creationId xmlns:p14="http://schemas.microsoft.com/office/powerpoint/2010/main" val="34014309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3. How to identify the root causes of a systemic issue?</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15" name="Arrow: Circular 14">
            <a:extLst>
              <a:ext uri="{FF2B5EF4-FFF2-40B4-BE49-F238E27FC236}">
                <a16:creationId xmlns:a16="http://schemas.microsoft.com/office/drawing/2014/main" id="{54016651-8580-11D9-CA85-E55F221ED463}"/>
              </a:ext>
            </a:extLst>
          </p:cNvPr>
          <p:cNvSpPr/>
          <p:nvPr/>
        </p:nvSpPr>
        <p:spPr>
          <a:xfrm rot="18674163">
            <a:off x="757633" y="2389671"/>
            <a:ext cx="1800000" cy="1800000"/>
          </a:xfrm>
          <a:prstGeom prst="circularArrow">
            <a:avLst>
              <a:gd name="adj1" fmla="val 12198"/>
              <a:gd name="adj2" fmla="val 1142319"/>
              <a:gd name="adj3" fmla="val 20680099"/>
              <a:gd name="adj4" fmla="val 3308809"/>
              <a:gd name="adj5" fmla="val 125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Arrow: Circular 15">
            <a:extLst>
              <a:ext uri="{FF2B5EF4-FFF2-40B4-BE49-F238E27FC236}">
                <a16:creationId xmlns:a16="http://schemas.microsoft.com/office/drawing/2014/main" id="{12B0C176-19A6-C6F4-4287-B870D12AEE8D}"/>
              </a:ext>
            </a:extLst>
          </p:cNvPr>
          <p:cNvSpPr/>
          <p:nvPr/>
        </p:nvSpPr>
        <p:spPr>
          <a:xfrm rot="18150543">
            <a:off x="1455724" y="3147703"/>
            <a:ext cx="1800000" cy="1800000"/>
          </a:xfrm>
          <a:prstGeom prst="circularArrow">
            <a:avLst>
              <a:gd name="adj1" fmla="val 12198"/>
              <a:gd name="adj2" fmla="val 1142319"/>
              <a:gd name="adj3" fmla="val 20680099"/>
              <a:gd name="adj4" fmla="val 3308809"/>
              <a:gd name="adj5" fmla="val 125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Arrow: Circular 16">
            <a:extLst>
              <a:ext uri="{FF2B5EF4-FFF2-40B4-BE49-F238E27FC236}">
                <a16:creationId xmlns:a16="http://schemas.microsoft.com/office/drawing/2014/main" id="{544D8853-FF51-CBB5-9235-78E4FB8B70B4}"/>
              </a:ext>
            </a:extLst>
          </p:cNvPr>
          <p:cNvSpPr/>
          <p:nvPr/>
        </p:nvSpPr>
        <p:spPr>
          <a:xfrm rot="7799875">
            <a:off x="2117840" y="2443939"/>
            <a:ext cx="1800000" cy="1800000"/>
          </a:xfrm>
          <a:prstGeom prst="circularArrow">
            <a:avLst>
              <a:gd name="adj1" fmla="val 12198"/>
              <a:gd name="adj2" fmla="val 1142319"/>
              <a:gd name="adj3" fmla="val 20680099"/>
              <a:gd name="adj4" fmla="val 3308809"/>
              <a:gd name="adj5" fmla="val 125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Arrow: Circular 17">
            <a:extLst>
              <a:ext uri="{FF2B5EF4-FFF2-40B4-BE49-F238E27FC236}">
                <a16:creationId xmlns:a16="http://schemas.microsoft.com/office/drawing/2014/main" id="{C9A95D62-A253-35A8-77F8-AD3229116635}"/>
              </a:ext>
            </a:extLst>
          </p:cNvPr>
          <p:cNvSpPr/>
          <p:nvPr/>
        </p:nvSpPr>
        <p:spPr>
          <a:xfrm rot="7331840">
            <a:off x="2813158" y="2981953"/>
            <a:ext cx="1800000" cy="1800000"/>
          </a:xfrm>
          <a:prstGeom prst="circularArrow">
            <a:avLst>
              <a:gd name="adj1" fmla="val 12198"/>
              <a:gd name="adj2" fmla="val 1142319"/>
              <a:gd name="adj3" fmla="val 20680099"/>
              <a:gd name="adj4" fmla="val 3308809"/>
              <a:gd name="adj5" fmla="val 125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Content Placeholder 2">
            <a:extLst>
              <a:ext uri="{FF2B5EF4-FFF2-40B4-BE49-F238E27FC236}">
                <a16:creationId xmlns:a16="http://schemas.microsoft.com/office/drawing/2014/main" id="{6A702181-012B-7FF6-8D92-2A277CB55B13}"/>
              </a:ext>
            </a:extLst>
          </p:cNvPr>
          <p:cNvSpPr>
            <a:spLocks noGrp="1"/>
          </p:cNvSpPr>
          <p:nvPr>
            <p:ph idx="1"/>
          </p:nvPr>
        </p:nvSpPr>
        <p:spPr>
          <a:xfrm>
            <a:off x="5145772" y="1614289"/>
            <a:ext cx="6451062" cy="4838376"/>
          </a:xfrm>
        </p:spPr>
        <p:txBody>
          <a:bodyPr/>
          <a:lstStyle/>
          <a:p>
            <a:pPr marL="0" indent="0" algn="just">
              <a:buNone/>
            </a:pPr>
            <a:r>
              <a:rPr lang="en-US" sz="1600"/>
              <a:t>The second exercise zooms in on the </a:t>
            </a:r>
            <a:r>
              <a:rPr lang="en-US" sz="1600" b="1"/>
              <a:t>root causes </a:t>
            </a:r>
            <a:r>
              <a:rPr lang="en-US" sz="1600"/>
              <a:t>of systemic issues – one of the characteristics which makes challenges systemic in nature. Understanding the root cause of an issue is fundamental to addressing it in a systemic manner. </a:t>
            </a:r>
          </a:p>
          <a:p>
            <a:pPr marL="0" indent="0" algn="just">
              <a:buNone/>
            </a:pPr>
            <a:r>
              <a:rPr lang="en-US" sz="1600"/>
              <a:t>The water issues we see happening in the world are a </a:t>
            </a:r>
            <a:r>
              <a:rPr lang="en-US" sz="1600" b="1"/>
              <a:t>natural outcome </a:t>
            </a:r>
            <a:r>
              <a:rPr lang="en-US" sz="1600"/>
              <a:t>of the system in which we operate. In this system, there are certain political and economic incentives and dynamics at play which produce a certain collective behavior. If these incentives lead to unsustainable behavior, then this behavior in turn leads to the visible water issues. This collective behavior is often difficult to change, particularly with one project by one actor, but understanding the root causes of this behavior is an important step towards contributing to systemic change.</a:t>
            </a:r>
          </a:p>
          <a:p>
            <a:pPr marL="0" indent="0" algn="just">
              <a:buNone/>
            </a:pPr>
            <a:r>
              <a:rPr lang="en-US" sz="1600"/>
              <a:t>It is the </a:t>
            </a:r>
            <a:r>
              <a:rPr lang="en-US" sz="1600" b="1"/>
              <a:t>interaction </a:t>
            </a:r>
            <a:r>
              <a:rPr lang="en-US" sz="1600"/>
              <a:t>between various elements and dynamics that make systemic issues difficult to address. To understand this better, we may think of systems as a collection of </a:t>
            </a:r>
            <a:r>
              <a:rPr lang="en-US" sz="1600" b="1"/>
              <a:t>feedback loops </a:t>
            </a:r>
            <a:r>
              <a:rPr lang="en-US" sz="1600"/>
              <a:t>which reflect a set of causal actions or occurrences, all of which ‘feed back’ into the system. The following slides explain the main feedback loops in a system. </a:t>
            </a:r>
            <a:r>
              <a:rPr lang="en-GB" sz="1600">
                <a:solidFill>
                  <a:schemeClr val="tx1"/>
                </a:solidFill>
                <a:latin typeface="Segoe UI Light" panose="020B0502040204020203" pitchFamily="34" charset="0"/>
                <a:cs typeface="Segoe UI Light" panose="020B0502040204020203" pitchFamily="34" charset="0"/>
              </a:rPr>
              <a:t>These loops help answer the questions “Why is the sustainability challenge in my water system there in the first place?” &amp; “Why have we - after many years of concerted efforts - still not been able to solve it by now?”.</a:t>
            </a:r>
            <a:endParaRPr lang="en-US" sz="1600"/>
          </a:p>
        </p:txBody>
      </p:sp>
      <p:sp>
        <p:nvSpPr>
          <p:cNvPr id="9" name="Rectangle 8">
            <a:extLst>
              <a:ext uri="{FF2B5EF4-FFF2-40B4-BE49-F238E27FC236}">
                <a16:creationId xmlns:a16="http://schemas.microsoft.com/office/drawing/2014/main" id="{B0806810-6294-1CC9-220F-C68F1442E110}"/>
              </a:ext>
            </a:extLst>
          </p:cNvPr>
          <p:cNvSpPr/>
          <p:nvPr/>
        </p:nvSpPr>
        <p:spPr>
          <a:xfrm>
            <a:off x="595166" y="6446945"/>
            <a:ext cx="11691938" cy="383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Sources: ‘Changing the Game’ by Lucas Simons &amp; Andre Nijhof (2020) &amp; the </a:t>
            </a:r>
            <a:r>
              <a:rPr lang="en-US" sz="1200" i="1" err="1">
                <a:solidFill>
                  <a:schemeClr val="tx1"/>
                </a:solidFill>
              </a:rPr>
              <a:t>TransMission</a:t>
            </a:r>
            <a:r>
              <a:rPr lang="en-US" sz="1200" i="1">
                <a:solidFill>
                  <a:schemeClr val="tx1"/>
                </a:solidFill>
              </a:rPr>
              <a:t> framework by NewForesight, </a:t>
            </a:r>
            <a:r>
              <a:rPr lang="en-US" sz="1200" i="1" err="1">
                <a:solidFill>
                  <a:schemeClr val="tx1"/>
                </a:solidFill>
              </a:rPr>
              <a:t>Nyenrode</a:t>
            </a:r>
            <a:r>
              <a:rPr lang="en-US" sz="1200" i="1">
                <a:solidFill>
                  <a:schemeClr val="tx1"/>
                </a:solidFill>
              </a:rPr>
              <a:t> &amp; Copernicus Institute (2023)</a:t>
            </a:r>
          </a:p>
        </p:txBody>
      </p:sp>
    </p:spTree>
    <p:extLst>
      <p:ext uri="{BB962C8B-B14F-4D97-AF65-F5344CB8AC3E}">
        <p14:creationId xmlns:p14="http://schemas.microsoft.com/office/powerpoint/2010/main" val="30696742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B6F35-C464-CB1A-98D8-84BA1D1241EB}"/>
              </a:ext>
            </a:extLst>
          </p:cNvPr>
          <p:cNvSpPr>
            <a:spLocks noGrp="1"/>
          </p:cNvSpPr>
          <p:nvPr>
            <p:ph idx="1"/>
          </p:nvPr>
        </p:nvSpPr>
        <p:spPr>
          <a:xfrm>
            <a:off x="4576399" y="1825625"/>
            <a:ext cx="6777401" cy="1937984"/>
          </a:xfrm>
        </p:spPr>
        <p:txBody>
          <a:bodyPr/>
          <a:lstStyle/>
          <a:p>
            <a:pPr marL="0" indent="0" algn="just">
              <a:buNone/>
            </a:pPr>
            <a:r>
              <a:rPr lang="en-US" sz="1600"/>
              <a:t>The first feedback loop is the </a:t>
            </a:r>
            <a:r>
              <a:rPr lang="en-US" sz="1600" b="1"/>
              <a:t>reward structure</a:t>
            </a:r>
            <a:r>
              <a:rPr lang="en-US" sz="1600"/>
              <a:t>, which asks the question of what is rewarded in the system. Stakeholders compete on the use of water resources and water services. Each of these stakeholders hold different values around water. When a system includes many self-optimizing actors, this often leads to competition on the highest possible volume of water for oneself, and with no regard for what happens to the water afterwards. </a:t>
            </a:r>
          </a:p>
          <a:p>
            <a:pPr marL="0" indent="0" algn="just">
              <a:buNone/>
            </a:pPr>
            <a:endParaRPr lang="en-US" sz="1600" b="1"/>
          </a:p>
        </p:txBody>
      </p:sp>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3. How to identify the root causes of a systemic issue?</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4" name="Arrow: Circular 3">
            <a:extLst>
              <a:ext uri="{FF2B5EF4-FFF2-40B4-BE49-F238E27FC236}">
                <a16:creationId xmlns:a16="http://schemas.microsoft.com/office/drawing/2014/main" id="{0AEDAB1A-A95D-45E7-5DD2-6DB79ADC1AB9}"/>
              </a:ext>
            </a:extLst>
          </p:cNvPr>
          <p:cNvSpPr/>
          <p:nvPr/>
        </p:nvSpPr>
        <p:spPr>
          <a:xfrm rot="14869921">
            <a:off x="1566253" y="1690545"/>
            <a:ext cx="1800000" cy="1800000"/>
          </a:xfrm>
          <a:prstGeom prst="circularArrow">
            <a:avLst>
              <a:gd name="adj1" fmla="val 12198"/>
              <a:gd name="adj2" fmla="val 1142319"/>
              <a:gd name="adj3" fmla="val 20680099"/>
              <a:gd name="adj4" fmla="val 3308809"/>
              <a:gd name="adj5" fmla="val 125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Rectangle 8">
            <a:extLst>
              <a:ext uri="{FF2B5EF4-FFF2-40B4-BE49-F238E27FC236}">
                <a16:creationId xmlns:a16="http://schemas.microsoft.com/office/drawing/2014/main" id="{E158EBD8-D5EE-6A2A-DCD3-48AD03991F9C}"/>
              </a:ext>
            </a:extLst>
          </p:cNvPr>
          <p:cNvSpPr/>
          <p:nvPr/>
        </p:nvSpPr>
        <p:spPr>
          <a:xfrm>
            <a:off x="1832071" y="2468439"/>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Rewards</a:t>
            </a:r>
          </a:p>
        </p:txBody>
      </p:sp>
      <p:sp>
        <p:nvSpPr>
          <p:cNvPr id="2" name="Content Placeholder 2">
            <a:extLst>
              <a:ext uri="{FF2B5EF4-FFF2-40B4-BE49-F238E27FC236}">
                <a16:creationId xmlns:a16="http://schemas.microsoft.com/office/drawing/2014/main" id="{FB26B996-F76D-CCFC-DF73-F1B5C4EB47FF}"/>
              </a:ext>
            </a:extLst>
          </p:cNvPr>
          <p:cNvSpPr txBox="1">
            <a:spLocks/>
          </p:cNvSpPr>
          <p:nvPr/>
        </p:nvSpPr>
        <p:spPr>
          <a:xfrm>
            <a:off x="884114" y="3605662"/>
            <a:ext cx="3399128" cy="2175706"/>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How do stakeholders compete on water resources and on water services?</a:t>
            </a:r>
          </a:p>
          <a:p>
            <a:r>
              <a:rPr lang="en-US" sz="1600"/>
              <a:t>What are the main incentives driving their behavior, and what underlying values cause for these incentives? </a:t>
            </a:r>
          </a:p>
          <a:p>
            <a:r>
              <a:rPr lang="en-US" sz="1600"/>
              <a:t>What consequences (and thus water challenges) do these incentives lead to?</a:t>
            </a:r>
          </a:p>
        </p:txBody>
      </p:sp>
      <p:sp>
        <p:nvSpPr>
          <p:cNvPr id="10" name="Rectangle 9">
            <a:extLst>
              <a:ext uri="{FF2B5EF4-FFF2-40B4-BE49-F238E27FC236}">
                <a16:creationId xmlns:a16="http://schemas.microsoft.com/office/drawing/2014/main" id="{18B36C14-70B7-08AE-8B4F-909DCED30C8E}"/>
              </a:ext>
            </a:extLst>
          </p:cNvPr>
          <p:cNvSpPr/>
          <p:nvPr/>
        </p:nvSpPr>
        <p:spPr>
          <a:xfrm>
            <a:off x="4692316" y="3605661"/>
            <a:ext cx="6801594" cy="2847003"/>
          </a:xfrm>
          <a:prstGeom prst="rect">
            <a:avLst/>
          </a:prstGeom>
          <a:solidFill>
            <a:schemeClr val="bg1"/>
          </a:solid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b="1">
                <a:solidFill>
                  <a:schemeClr val="tx1"/>
                </a:solidFill>
              </a:rPr>
              <a:t>Case example:</a:t>
            </a:r>
          </a:p>
          <a:p>
            <a:pPr algn="just"/>
            <a:r>
              <a:rPr lang="en-US" sz="1400">
                <a:solidFill>
                  <a:schemeClr val="tx1"/>
                </a:solidFill>
              </a:rPr>
              <a:t>As an example, we may look at pollution of a river by the textile industry in a certain region. Various stakeholders compete for the water resources of the river. To name but a few: Farmers use the water as agricultural input, companies use it as industrial input, families use it to cook, clean and swim, and aquatic animals live in the river. More specifically along the textile supply chain, cotton farmers use the water as agricultural input and textile manufacturers use it as input for industrial processes such as clothing dyeing – but they also use the rivers as a place to discharge the wastewater from these processes. Industry actors are rewarded to keep production costs as low as possible in order to adhere to the demand for fast production of cheap clothing – and sourcing new water and discharging polluted wastewater is the cheapest and fastest way to manage water. The reward structure thus causes unsustainable outcomes in the system.</a:t>
            </a:r>
          </a:p>
        </p:txBody>
      </p:sp>
      <p:sp>
        <p:nvSpPr>
          <p:cNvPr id="12" name="Rectangle 11">
            <a:extLst>
              <a:ext uri="{FF2B5EF4-FFF2-40B4-BE49-F238E27FC236}">
                <a16:creationId xmlns:a16="http://schemas.microsoft.com/office/drawing/2014/main" id="{7CA6262A-2683-47E0-83EE-6AFCF80F1359}"/>
              </a:ext>
            </a:extLst>
          </p:cNvPr>
          <p:cNvSpPr/>
          <p:nvPr/>
        </p:nvSpPr>
        <p:spPr>
          <a:xfrm>
            <a:off x="595166" y="6446945"/>
            <a:ext cx="11691938" cy="383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Sources: ‘Changing the Game’ by Lucas Simons &amp; Andre Nijhof (2020) &amp; the </a:t>
            </a:r>
            <a:r>
              <a:rPr lang="en-US" sz="1200" i="1" err="1">
                <a:solidFill>
                  <a:schemeClr val="tx1"/>
                </a:solidFill>
              </a:rPr>
              <a:t>TransMission</a:t>
            </a:r>
            <a:r>
              <a:rPr lang="en-US" sz="1200" i="1">
                <a:solidFill>
                  <a:schemeClr val="tx1"/>
                </a:solidFill>
              </a:rPr>
              <a:t> framework by NewForesight, </a:t>
            </a:r>
            <a:r>
              <a:rPr lang="en-US" sz="1200" i="1" err="1">
                <a:solidFill>
                  <a:schemeClr val="tx1"/>
                </a:solidFill>
              </a:rPr>
              <a:t>Nyenrode</a:t>
            </a:r>
            <a:r>
              <a:rPr lang="en-US" sz="1200" i="1">
                <a:solidFill>
                  <a:schemeClr val="tx1"/>
                </a:solidFill>
              </a:rPr>
              <a:t> &amp; Copernicus Institute (2023)</a:t>
            </a:r>
          </a:p>
        </p:txBody>
      </p:sp>
    </p:spTree>
    <p:extLst>
      <p:ext uri="{BB962C8B-B14F-4D97-AF65-F5344CB8AC3E}">
        <p14:creationId xmlns:p14="http://schemas.microsoft.com/office/powerpoint/2010/main" val="1939323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B6F35-C464-CB1A-98D8-84BA1D1241EB}"/>
              </a:ext>
            </a:extLst>
          </p:cNvPr>
          <p:cNvSpPr>
            <a:spLocks noGrp="1"/>
          </p:cNvSpPr>
          <p:nvPr>
            <p:ph idx="1"/>
          </p:nvPr>
        </p:nvSpPr>
        <p:spPr>
          <a:xfrm>
            <a:off x="4576399" y="1825625"/>
            <a:ext cx="6777401" cy="1937984"/>
          </a:xfrm>
        </p:spPr>
        <p:txBody>
          <a:bodyPr/>
          <a:lstStyle/>
          <a:p>
            <a:pPr marL="0" indent="0" algn="just">
              <a:buNone/>
            </a:pPr>
            <a:r>
              <a:rPr lang="en-GB" sz="1600"/>
              <a:t>The second loop is that of the </a:t>
            </a:r>
            <a:r>
              <a:rPr lang="en-GB" sz="1600" b="1"/>
              <a:t>enabling environment</a:t>
            </a:r>
            <a:r>
              <a:rPr lang="en-GB" sz="1600"/>
              <a:t>. This entails the rules, policies, institutions, tax and financial structures, infrastructure, educational systems, media and other aspects of the enabling environment which the government creates in order to strengthen their benefits.</a:t>
            </a:r>
          </a:p>
        </p:txBody>
      </p:sp>
      <p:pic>
        <p:nvPicPr>
          <p:cNvPr id="5" name="Picture 4" descr="Logo&#10;&#10;Description automatically generated">
            <a:extLst>
              <a:ext uri="{FF2B5EF4-FFF2-40B4-BE49-F238E27FC236}">
                <a16:creationId xmlns:a16="http://schemas.microsoft.com/office/drawing/2014/main" id="{632163FA-5E1D-736B-79CE-ADF08086A657}"/>
              </a:ext>
            </a:extLst>
          </p:cNvPr>
          <p:cNvPicPr>
            <a:picLocks noChangeAspect="1"/>
          </p:cNvPicPr>
          <p:nvPr/>
        </p:nvPicPr>
        <p:blipFill rotWithShape="1">
          <a:blip r:embed="rId2"/>
          <a:srcRect r="42473"/>
          <a:stretch/>
        </p:blipFill>
        <p:spPr>
          <a:xfrm>
            <a:off x="10861506" y="-18748"/>
            <a:ext cx="735328" cy="620892"/>
          </a:xfrm>
          <a:prstGeom prst="rect">
            <a:avLst/>
          </a:prstGeom>
        </p:spPr>
      </p:pic>
      <p:pic>
        <p:nvPicPr>
          <p:cNvPr id="6" name="Picture 5" descr="Icon&#10;&#10;Description automatically generated">
            <a:extLst>
              <a:ext uri="{FF2B5EF4-FFF2-40B4-BE49-F238E27FC236}">
                <a16:creationId xmlns:a16="http://schemas.microsoft.com/office/drawing/2014/main" id="{CEE9BA91-88F3-3C98-0E73-2E9CDA6DB493}"/>
              </a:ext>
            </a:extLst>
          </p:cNvPr>
          <p:cNvPicPr>
            <a:picLocks noChangeAspect="1"/>
          </p:cNvPicPr>
          <p:nvPr/>
        </p:nvPicPr>
        <p:blipFill>
          <a:blip r:embed="rId3"/>
          <a:stretch>
            <a:fillRect/>
          </a:stretch>
        </p:blipFill>
        <p:spPr>
          <a:xfrm>
            <a:off x="11596834" y="-28995"/>
            <a:ext cx="595165" cy="620892"/>
          </a:xfrm>
          <a:prstGeom prst="rect">
            <a:avLst/>
          </a:prstGeom>
        </p:spPr>
      </p:pic>
      <p:sp>
        <p:nvSpPr>
          <p:cNvPr id="7" name="Rectangle 6">
            <a:extLst>
              <a:ext uri="{FF2B5EF4-FFF2-40B4-BE49-F238E27FC236}">
                <a16:creationId xmlns:a16="http://schemas.microsoft.com/office/drawing/2014/main" id="{2D95F98B-A398-8E28-0B72-62DC1E8B73C1}"/>
              </a:ext>
            </a:extLst>
          </p:cNvPr>
          <p:cNvSpPr/>
          <p:nvPr/>
        </p:nvSpPr>
        <p:spPr>
          <a:xfrm>
            <a:off x="10935854" y="0"/>
            <a:ext cx="1256145" cy="60036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1">
            <a:extLst>
              <a:ext uri="{FF2B5EF4-FFF2-40B4-BE49-F238E27FC236}">
                <a16:creationId xmlns:a16="http://schemas.microsoft.com/office/drawing/2014/main" id="{63806430-090A-261A-5481-57459F5C7329}"/>
              </a:ext>
            </a:extLst>
          </p:cNvPr>
          <p:cNvSpPr txBox="1">
            <a:spLocks/>
          </p:cNvSpPr>
          <p:nvPr/>
        </p:nvSpPr>
        <p:spPr>
          <a:xfrm>
            <a:off x="884114" y="936377"/>
            <a:ext cx="10383653" cy="552205"/>
          </a:xfrm>
          <a:prstGeom prst="rect">
            <a:avLst/>
          </a:prstGeom>
        </p:spPr>
        <p:txBody>
          <a:bodyPr vert="horz" lIns="61120" tIns="30560" rIns="61120" bIns="30560" rtlCol="0" anchor="ctr">
            <a:no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200" b="1">
                <a:gradFill>
                  <a:gsLst>
                    <a:gs pos="0">
                      <a:srgbClr val="00A0DF"/>
                    </a:gs>
                    <a:gs pos="100000">
                      <a:srgbClr val="00E1D9"/>
                    </a:gs>
                  </a:gsLst>
                  <a:lin ang="4800000" scaled="0"/>
                </a:gradFill>
                <a:latin typeface="Segoe UI Semibold (Headings)"/>
                <a:cs typeface="Segoe UI" panose="020B0502040204020203" pitchFamily="34" charset="0"/>
              </a:rPr>
              <a:t>3. How to identify the root causes of a systemic issue?</a:t>
            </a:r>
          </a:p>
        </p:txBody>
      </p:sp>
      <p:sp>
        <p:nvSpPr>
          <p:cNvPr id="11" name="Title 1">
            <a:extLst>
              <a:ext uri="{FF2B5EF4-FFF2-40B4-BE49-F238E27FC236}">
                <a16:creationId xmlns:a16="http://schemas.microsoft.com/office/drawing/2014/main" id="{1C82C60D-2E4A-7056-D798-10F11214D1C9}"/>
              </a:ext>
            </a:extLst>
          </p:cNvPr>
          <p:cNvSpPr>
            <a:spLocks noGrp="1"/>
          </p:cNvSpPr>
          <p:nvPr>
            <p:ph type="title"/>
          </p:nvPr>
        </p:nvSpPr>
        <p:spPr>
          <a:xfrm>
            <a:off x="907198" y="405335"/>
            <a:ext cx="10377606" cy="677912"/>
          </a:xfrm>
        </p:spPr>
        <p:txBody>
          <a:bodyPr anchor="t" anchorCtr="0">
            <a:normAutofit/>
          </a:bodyPr>
          <a:lstStyle/>
          <a:p>
            <a:pPr defTabSz="611185"/>
            <a:r>
              <a:rPr lang="en-GB" sz="2406">
                <a:solidFill>
                  <a:srgbClr val="009FDE"/>
                </a:solidFill>
                <a:latin typeface="Segoe UI Semibold (Headings)"/>
              </a:rPr>
              <a:t>Systems change analysis</a:t>
            </a:r>
          </a:p>
        </p:txBody>
      </p:sp>
      <p:sp>
        <p:nvSpPr>
          <p:cNvPr id="2" name="Content Placeholder 2">
            <a:extLst>
              <a:ext uri="{FF2B5EF4-FFF2-40B4-BE49-F238E27FC236}">
                <a16:creationId xmlns:a16="http://schemas.microsoft.com/office/drawing/2014/main" id="{FB26B996-F76D-CCFC-DF73-F1B5C4EB47FF}"/>
              </a:ext>
            </a:extLst>
          </p:cNvPr>
          <p:cNvSpPr txBox="1">
            <a:spLocks/>
          </p:cNvSpPr>
          <p:nvPr/>
        </p:nvSpPr>
        <p:spPr>
          <a:xfrm>
            <a:off x="884114" y="3429000"/>
            <a:ext cx="3399128" cy="2175706"/>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en-GB" sz="1600"/>
              <a:t>What are governments benefitting from or trying to achieve?</a:t>
            </a:r>
          </a:p>
          <a:p>
            <a:pPr>
              <a:buClr>
                <a:schemeClr val="accent2"/>
              </a:buClr>
            </a:pPr>
            <a:r>
              <a:rPr lang="en-GB" sz="1600"/>
              <a:t>What policies, regulations, infrastructure, education, financial (tax) incentives, standards are (not) in place as a result of this?</a:t>
            </a:r>
          </a:p>
          <a:p>
            <a:pPr>
              <a:buClr>
                <a:schemeClr val="accent2"/>
              </a:buClr>
            </a:pPr>
            <a:r>
              <a:rPr lang="en-GB" sz="1600"/>
              <a:t>What is being invested in, subsidized and procured?</a:t>
            </a:r>
          </a:p>
          <a:p>
            <a:pPr>
              <a:buClr>
                <a:schemeClr val="accent2"/>
              </a:buClr>
            </a:pPr>
            <a:r>
              <a:rPr lang="en-GB" sz="1600"/>
              <a:t>What are thus the underlying structures that support, strengthen or fail to correct the unsustainable outcome?</a:t>
            </a:r>
          </a:p>
        </p:txBody>
      </p:sp>
      <p:sp>
        <p:nvSpPr>
          <p:cNvPr id="10" name="Rectangle 9">
            <a:extLst>
              <a:ext uri="{FF2B5EF4-FFF2-40B4-BE49-F238E27FC236}">
                <a16:creationId xmlns:a16="http://schemas.microsoft.com/office/drawing/2014/main" id="{18B36C14-70B7-08AE-8B4F-909DCED30C8E}"/>
              </a:ext>
            </a:extLst>
          </p:cNvPr>
          <p:cNvSpPr/>
          <p:nvPr/>
        </p:nvSpPr>
        <p:spPr>
          <a:xfrm>
            <a:off x="4692316" y="3605661"/>
            <a:ext cx="6801594" cy="2847003"/>
          </a:xfrm>
          <a:prstGeom prst="rect">
            <a:avLst/>
          </a:prstGeom>
          <a:solidFill>
            <a:schemeClr val="bg1"/>
          </a:solid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b="1">
                <a:solidFill>
                  <a:schemeClr val="tx1"/>
                </a:solidFill>
              </a:rPr>
              <a:t>Case example:</a:t>
            </a:r>
          </a:p>
          <a:p>
            <a:pPr algn="just"/>
            <a:r>
              <a:rPr lang="en-US" sz="1400">
                <a:solidFill>
                  <a:schemeClr val="tx1"/>
                </a:solidFill>
              </a:rPr>
              <a:t>In the same example of the polluting textile industry in a region, the enabling environment also has a role to play. </a:t>
            </a:r>
            <a:r>
              <a:rPr lang="en-GB" sz="1400">
                <a:solidFill>
                  <a:schemeClr val="tx1"/>
                </a:solidFill>
              </a:rPr>
              <a:t>The governments of producing countries benefit from maintaining competitive advantage in the textile industry, as it increases tax revenues from employment and export. Consequences for the countries’ natural capital are generally not considered. The policies, regulations and tax incentives in producing countries therefore serve the status quo in the textile industry for as long as possible, unless the benefits of changing these structures would outweigh the benefits they currently experience.</a:t>
            </a:r>
          </a:p>
          <a:p>
            <a:pPr algn="just"/>
            <a:r>
              <a:rPr lang="en-GB" sz="1400">
                <a:solidFill>
                  <a:schemeClr val="tx1"/>
                </a:solidFill>
              </a:rPr>
              <a:t>Governments of consuming countries want to get re-elected, and therefore avoid implementing import or other regulations for the textile industry – unless the urgency of the problem among citizens outweighs the demand for cheap and fast clothing. Combined, these governments reinforce the unsustainable outcome of the system.</a:t>
            </a:r>
          </a:p>
        </p:txBody>
      </p:sp>
      <p:sp>
        <p:nvSpPr>
          <p:cNvPr id="12" name="Arrow: Circular 11">
            <a:extLst>
              <a:ext uri="{FF2B5EF4-FFF2-40B4-BE49-F238E27FC236}">
                <a16:creationId xmlns:a16="http://schemas.microsoft.com/office/drawing/2014/main" id="{15347E33-5AB2-ADD8-1D84-245E782F58A5}"/>
              </a:ext>
            </a:extLst>
          </p:cNvPr>
          <p:cNvSpPr/>
          <p:nvPr/>
        </p:nvSpPr>
        <p:spPr>
          <a:xfrm rot="4185214">
            <a:off x="1549033" y="1673323"/>
            <a:ext cx="1800000" cy="1800000"/>
          </a:xfrm>
          <a:prstGeom prst="circularArrow">
            <a:avLst>
              <a:gd name="adj1" fmla="val 12198"/>
              <a:gd name="adj2" fmla="val 1142319"/>
              <a:gd name="adj3" fmla="val 20680099"/>
              <a:gd name="adj4" fmla="val 3308809"/>
              <a:gd name="adj5" fmla="val 125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Rectangle 12">
            <a:extLst>
              <a:ext uri="{FF2B5EF4-FFF2-40B4-BE49-F238E27FC236}">
                <a16:creationId xmlns:a16="http://schemas.microsoft.com/office/drawing/2014/main" id="{7FBCBF6A-068A-F8B8-D5A0-F42ED33430D6}"/>
              </a:ext>
            </a:extLst>
          </p:cNvPr>
          <p:cNvSpPr/>
          <p:nvPr/>
        </p:nvSpPr>
        <p:spPr>
          <a:xfrm>
            <a:off x="1814852" y="2265414"/>
            <a:ext cx="1268361" cy="3585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Enabling environment</a:t>
            </a:r>
          </a:p>
        </p:txBody>
      </p:sp>
      <p:sp>
        <p:nvSpPr>
          <p:cNvPr id="14" name="Rectangle 13">
            <a:extLst>
              <a:ext uri="{FF2B5EF4-FFF2-40B4-BE49-F238E27FC236}">
                <a16:creationId xmlns:a16="http://schemas.microsoft.com/office/drawing/2014/main" id="{49BC19E5-CBDC-3DBB-CDD7-079C06D9E594}"/>
              </a:ext>
            </a:extLst>
          </p:cNvPr>
          <p:cNvSpPr/>
          <p:nvPr/>
        </p:nvSpPr>
        <p:spPr>
          <a:xfrm>
            <a:off x="595166" y="6446945"/>
            <a:ext cx="11691938" cy="383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a:solidFill>
                  <a:schemeClr val="tx1"/>
                </a:solidFill>
              </a:rPr>
              <a:t>Sources: ‘Changing the Game’ by Lucas Simons &amp; Andre Nijhof (2020) &amp; the </a:t>
            </a:r>
            <a:r>
              <a:rPr lang="en-US" sz="1200" i="1" err="1">
                <a:solidFill>
                  <a:schemeClr val="tx1"/>
                </a:solidFill>
              </a:rPr>
              <a:t>TransMission</a:t>
            </a:r>
            <a:r>
              <a:rPr lang="en-US" sz="1200" i="1">
                <a:solidFill>
                  <a:schemeClr val="tx1"/>
                </a:solidFill>
              </a:rPr>
              <a:t> framework by NewForesight, </a:t>
            </a:r>
            <a:r>
              <a:rPr lang="en-US" sz="1200" i="1" err="1">
                <a:solidFill>
                  <a:schemeClr val="tx1"/>
                </a:solidFill>
              </a:rPr>
              <a:t>Nyenrode</a:t>
            </a:r>
            <a:r>
              <a:rPr lang="en-US" sz="1200" i="1">
                <a:solidFill>
                  <a:schemeClr val="tx1"/>
                </a:solidFill>
              </a:rPr>
              <a:t> &amp; Copernicus Institute (2023)</a:t>
            </a:r>
          </a:p>
        </p:txBody>
      </p:sp>
    </p:spTree>
    <p:extLst>
      <p:ext uri="{BB962C8B-B14F-4D97-AF65-F5344CB8AC3E}">
        <p14:creationId xmlns:p14="http://schemas.microsoft.com/office/powerpoint/2010/main" val="11155538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4">
      <a:dk1>
        <a:srgbClr val="000000"/>
      </a:dk1>
      <a:lt1>
        <a:srgbClr val="FFFFFF"/>
      </a:lt1>
      <a:dk2>
        <a:srgbClr val="44546A"/>
      </a:dk2>
      <a:lt2>
        <a:srgbClr val="E7E6E6"/>
      </a:lt2>
      <a:accent1>
        <a:srgbClr val="009FDE"/>
      </a:accent1>
      <a:accent2>
        <a:srgbClr val="00C2E4"/>
      </a:accent2>
      <a:accent3>
        <a:srgbClr val="00E0D8"/>
      </a:accent3>
      <a:accent4>
        <a:srgbClr val="7DF9C1"/>
      </a:accent4>
      <a:accent5>
        <a:srgbClr val="F9F871"/>
      </a:accent5>
      <a:accent6>
        <a:srgbClr val="F56961"/>
      </a:accent6>
      <a:hlink>
        <a:srgbClr val="384955"/>
      </a:hlink>
      <a:folHlink>
        <a:srgbClr val="954F72"/>
      </a:folHlink>
    </a:clrScheme>
    <a:fontScheme name="Custom 2">
      <a:majorFont>
        <a:latin typeface="Segoe UI Semibold"/>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2b5b377-5ded-413d-b4d5-c72a836bb93c" xsi:nil="true"/>
    <lcf76f155ced4ddcb4097134ff3c332f xmlns="934bf06a-38ee-49b6-9420-ee8f688d1e2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6A618E2C5A5C946923B711EFBA4932E" ma:contentTypeVersion="16" ma:contentTypeDescription="Create a new document." ma:contentTypeScope="" ma:versionID="894c5004b660727b1f69d75b4fea25c7">
  <xsd:schema xmlns:xsd="http://www.w3.org/2001/XMLSchema" xmlns:xs="http://www.w3.org/2001/XMLSchema" xmlns:p="http://schemas.microsoft.com/office/2006/metadata/properties" xmlns:ns2="82b5b377-5ded-413d-b4d5-c72a836bb93c" xmlns:ns3="934bf06a-38ee-49b6-9420-ee8f688d1e24" targetNamespace="http://schemas.microsoft.com/office/2006/metadata/properties" ma:root="true" ma:fieldsID="456db0457cfbb3c63a38372f03954455" ns2:_="" ns3:_="">
    <xsd:import namespace="82b5b377-5ded-413d-b4d5-c72a836bb93c"/>
    <xsd:import namespace="934bf06a-38ee-49b6-9420-ee8f688d1e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b5b377-5ded-413d-b4d5-c72a836bb93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5426440-f91a-46a8-9472-8286bc823be5}" ma:internalName="TaxCatchAll" ma:showField="CatchAllData" ma:web="82b5b377-5ded-413d-b4d5-c72a836bb93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34bf06a-38ee-49b6-9420-ee8f688d1e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e2eb92b-2f80-4394-b32e-820d5ac9118a"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3422A2C-C056-4798-8C14-621C1B80DD71}">
  <ds:schemaRefs>
    <ds:schemaRef ds:uri="http://schemas.microsoft.com/sharepoint/v3/contenttype/forms"/>
  </ds:schemaRefs>
</ds:datastoreItem>
</file>

<file path=customXml/itemProps2.xml><?xml version="1.0" encoding="utf-8"?>
<ds:datastoreItem xmlns:ds="http://schemas.openxmlformats.org/officeDocument/2006/customXml" ds:itemID="{A6DA6A5F-D376-4F72-B765-94E071999C13}">
  <ds:schemaRefs>
    <ds:schemaRef ds:uri="82b5b377-5ded-413d-b4d5-c72a836bb93c"/>
    <ds:schemaRef ds:uri="934bf06a-38ee-49b6-9420-ee8f688d1e24"/>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F4C6114-53A7-4E2A-8D41-AA1144513EA2}"/>
</file>

<file path=docProps/app.xml><?xml version="1.0" encoding="utf-8"?>
<Properties xmlns="http://schemas.openxmlformats.org/officeDocument/2006/extended-properties" xmlns:vt="http://schemas.openxmlformats.org/officeDocument/2006/docPropsVTypes">
  <TotalTime>0</TotalTime>
  <Words>5704</Words>
  <Application>Microsoft Office PowerPoint</Application>
  <PresentationFormat>Widescreen</PresentationFormat>
  <Paragraphs>301</Paragraphs>
  <Slides>17</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PingFang SC Regular</vt:lpstr>
      <vt:lpstr>Arial</vt:lpstr>
      <vt:lpstr>Calibri</vt:lpstr>
      <vt:lpstr>Segoe UI Light</vt:lpstr>
      <vt:lpstr>Segoe UI Semibold</vt:lpstr>
      <vt:lpstr>Segoe UI Semibold (Headings)</vt:lpstr>
      <vt:lpstr>System Font Regular</vt:lpstr>
      <vt:lpstr>1_Office Theme</vt:lpstr>
      <vt:lpstr>think-cell Slide</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lpstr>Systems change analy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CLUSION OF MULTIPLE VALUES</dc:title>
  <dc:creator>Pauline Smout</dc:creator>
  <cp:lastModifiedBy>Pauline Smout</cp:lastModifiedBy>
  <cp:revision>1</cp:revision>
  <dcterms:created xsi:type="dcterms:W3CDTF">2022-12-02T16:24:11Z</dcterms:created>
  <dcterms:modified xsi:type="dcterms:W3CDTF">2023-03-03T16:2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A618E2C5A5C946923B711EFBA4932E</vt:lpwstr>
  </property>
  <property fmtid="{D5CDD505-2E9C-101B-9397-08002B2CF9AE}" pid="3" name="MediaServiceImageTags">
    <vt:lpwstr/>
  </property>
</Properties>
</file>